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diagrams/quickStyle1.xml" ContentType="application/vnd.openxmlformats-officedocument.drawingml.diagramStyle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diagrams/layout4.xml" ContentType="application/vnd.openxmlformats-officedocument.drawingml.diagram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diagrams/layout2.xml" ContentType="application/vnd.openxmlformats-officedocument.drawingml.diagramLayout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diagrams/data3.xml" ContentType="application/vnd.openxmlformats-officedocument.drawingml.diagramData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Default Extension="wmf" ContentType="image/x-wmf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tags/tag32.xml" ContentType="application/vnd.openxmlformats-officedocument.presentationml.tags+xml"/>
  <Override PartName="/ppt/tags/tag5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</p:sldMasterIdLst>
  <p:notesMasterIdLst>
    <p:notesMasterId r:id="rId24"/>
  </p:notesMasterIdLst>
  <p:sldIdLst>
    <p:sldId id="257" r:id="rId2"/>
    <p:sldId id="1426" r:id="rId3"/>
    <p:sldId id="1382" r:id="rId4"/>
    <p:sldId id="1454" r:id="rId5"/>
    <p:sldId id="1445" r:id="rId6"/>
    <p:sldId id="1453" r:id="rId7"/>
    <p:sldId id="1456" r:id="rId8"/>
    <p:sldId id="1450" r:id="rId9"/>
    <p:sldId id="1455" r:id="rId10"/>
    <p:sldId id="1448" r:id="rId11"/>
    <p:sldId id="1458" r:id="rId12"/>
    <p:sldId id="1457" r:id="rId13"/>
    <p:sldId id="1464" r:id="rId14"/>
    <p:sldId id="1465" r:id="rId15"/>
    <p:sldId id="1466" r:id="rId16"/>
    <p:sldId id="1459" r:id="rId17"/>
    <p:sldId id="1463" r:id="rId18"/>
    <p:sldId id="1462" r:id="rId19"/>
    <p:sldId id="1461" r:id="rId20"/>
    <p:sldId id="1460" r:id="rId21"/>
    <p:sldId id="1434" r:id="rId22"/>
    <p:sldId id="1282" r:id="rId23"/>
  </p:sldIdLst>
  <p:sldSz cx="12192000" cy="6858000"/>
  <p:notesSz cx="6797675" cy="9926638"/>
  <p:custDataLst>
    <p:tags r:id="rId25"/>
  </p:custDataLst>
  <p:defaultTextStyle>
    <a:defPPr>
      <a:defRPr lang="el-G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Συντάκτης" initials="" lastIdx="0" clrIdx="1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DEECEF"/>
    <a:srgbClr val="D9D9D9"/>
    <a:srgbClr val="417B85"/>
    <a:srgbClr val="7F8FA9"/>
    <a:srgbClr val="1F5FA0"/>
    <a:srgbClr val="A9CCEE"/>
    <a:srgbClr val="9CC7CE"/>
    <a:srgbClr val="7EB2E6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65" autoAdjust="0"/>
    <p:restoredTop sz="99585" autoAdjust="0"/>
  </p:normalViewPr>
  <p:slideViewPr>
    <p:cSldViewPr snapToGrid="0">
      <p:cViewPr varScale="1">
        <p:scale>
          <a:sx n="68" d="100"/>
          <a:sy n="68" d="100"/>
        </p:scale>
        <p:origin x="-108" y="-23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640" y="24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9F27D0-33BA-46F8-929E-DDE5531A3EFA}" type="doc">
      <dgm:prSet loTypeId="urn:microsoft.com/office/officeart/2005/8/layout/venn2" loCatId="relationship" qsTypeId="urn:microsoft.com/office/officeart/2005/8/quickstyle/simple1#1" qsCatId="simple" csTypeId="urn:microsoft.com/office/officeart/2005/8/colors/accent1_2#1" csCatId="accent1" phldr="1"/>
      <dgm:spPr/>
      <dgm:t>
        <a:bodyPr/>
        <a:lstStyle/>
        <a:p>
          <a:endParaRPr lang="el-GR"/>
        </a:p>
      </dgm:t>
    </dgm:pt>
    <dgm:pt modelId="{3B982813-2EC8-49D2-9BF6-81C7D5B56F90}">
      <dgm:prSet phldrT="[Κείμενο]" custT="1"/>
      <dgm:spPr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endParaRPr lang="en-US" sz="1400" b="1" dirty="0"/>
        </a:p>
        <a:p>
          <a:endParaRPr lang="en-US" sz="1400" b="1" dirty="0"/>
        </a:p>
        <a:p>
          <a:r>
            <a:rPr lang="el-GR" sz="1400" b="1" dirty="0">
              <a:solidFill>
                <a:schemeClr val="accent5">
                  <a:lumMod val="50000"/>
                </a:schemeClr>
              </a:solidFill>
            </a:rPr>
            <a:t>Απασχολούμενοι που δεν εργάζονταν με κρατική εντολή </a:t>
          </a:r>
        </a:p>
        <a:p>
          <a:r>
            <a:rPr lang="el-GR" sz="1400" b="1" dirty="0">
              <a:solidFill>
                <a:schemeClr val="accent5">
                  <a:lumMod val="50000"/>
                </a:schemeClr>
              </a:solidFill>
            </a:rPr>
            <a:t>(690.218)  </a:t>
          </a:r>
        </a:p>
      </dgm:t>
    </dgm:pt>
    <dgm:pt modelId="{31E7F0DF-737F-4311-B69C-B4CE7048A7FF}" type="parTrans" cxnId="{E1A4826C-0F4C-4A35-9A1B-2845CBA83E45}">
      <dgm:prSet/>
      <dgm:spPr/>
      <dgm:t>
        <a:bodyPr/>
        <a:lstStyle/>
        <a:p>
          <a:endParaRPr lang="el-GR"/>
        </a:p>
      </dgm:t>
    </dgm:pt>
    <dgm:pt modelId="{80CA9DF3-AA55-4F88-A2A4-75E285E875A2}" type="sibTrans" cxnId="{E1A4826C-0F4C-4A35-9A1B-2845CBA83E45}">
      <dgm:prSet/>
      <dgm:spPr/>
      <dgm:t>
        <a:bodyPr/>
        <a:lstStyle/>
        <a:p>
          <a:endParaRPr lang="el-GR"/>
        </a:p>
      </dgm:t>
    </dgm:pt>
    <dgm:pt modelId="{CCA4746E-8D1C-4C20-942F-0B29885FFCF8}">
      <dgm:prSet phldrT="[Κείμενο]" custT="1"/>
      <dgm:spPr>
        <a:solidFill>
          <a:schemeClr val="accent5">
            <a:lumMod val="75000"/>
          </a:schemeClr>
        </a:solidFill>
        <a:ln w="38100">
          <a:solidFill>
            <a:schemeClr val="bg1"/>
          </a:solidFill>
        </a:ln>
      </dgm:spPr>
      <dgm:t>
        <a:bodyPr/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300" b="1" kern="1200" dirty="0">
              <a:solidFill>
                <a:schemeClr val="bg1"/>
              </a:solidFill>
            </a:rPr>
            <a:t>Επιστρέφουν στην εργασία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30</a:t>
          </a:r>
          <a:r>
            <a:rPr lang="en-US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7</a:t>
          </a:r>
          <a:r>
            <a:rPr lang="el-GR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.</a:t>
          </a:r>
          <a:r>
            <a:rPr lang="en-US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057</a:t>
          </a:r>
          <a:endParaRPr lang="el-GR" sz="13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l-GR" sz="1600" b="1" kern="1200" dirty="0">
            <a:solidFill>
              <a:schemeClr val="bg1"/>
            </a:solidFill>
          </a:endParaRPr>
        </a:p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l-GR" sz="1600" b="1" kern="1200" dirty="0" smtClean="0">
              <a:solidFill>
                <a:schemeClr val="bg1"/>
              </a:solidFill>
              <a:latin typeface="+mn-lt"/>
            </a:rPr>
            <a:t>45 % </a:t>
          </a:r>
          <a:endParaRPr lang="el-GR" sz="1600" b="1" kern="1200" dirty="0">
            <a:solidFill>
              <a:schemeClr val="bg1"/>
            </a:solidFill>
            <a:latin typeface="+mn-lt"/>
          </a:endParaRPr>
        </a:p>
      </dgm:t>
    </dgm:pt>
    <dgm:pt modelId="{000FF610-83EB-48FA-8A28-7F4E037C3328}" type="parTrans" cxnId="{A07B4605-77EA-4F22-8BAF-5FC1988EB8EF}">
      <dgm:prSet/>
      <dgm:spPr/>
      <dgm:t>
        <a:bodyPr/>
        <a:lstStyle/>
        <a:p>
          <a:endParaRPr lang="el-GR"/>
        </a:p>
      </dgm:t>
    </dgm:pt>
    <dgm:pt modelId="{F5FCF9FF-57DB-4F98-9B24-3564D39C822C}" type="sibTrans" cxnId="{A07B4605-77EA-4F22-8BAF-5FC1988EB8EF}">
      <dgm:prSet/>
      <dgm:spPr/>
      <dgm:t>
        <a:bodyPr/>
        <a:lstStyle/>
        <a:p>
          <a:endParaRPr lang="el-GR"/>
        </a:p>
      </dgm:t>
    </dgm:pt>
    <dgm:pt modelId="{6F59DFD6-8362-45D6-8B53-AAE2836559EB}" type="pres">
      <dgm:prSet presAssocID="{139F27D0-33BA-46F8-929E-DDE5531A3EFA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l-GR"/>
        </a:p>
      </dgm:t>
    </dgm:pt>
    <dgm:pt modelId="{DDC4A763-2F7E-468F-8FFA-06AC1575FD09}" type="pres">
      <dgm:prSet presAssocID="{139F27D0-33BA-46F8-929E-DDE5531A3EFA}" presName="comp1" presStyleCnt="0"/>
      <dgm:spPr/>
    </dgm:pt>
    <dgm:pt modelId="{A03E450C-80C2-423B-94B7-4E580CD100A9}" type="pres">
      <dgm:prSet presAssocID="{139F27D0-33BA-46F8-929E-DDE5531A3EFA}" presName="circle1" presStyleLbl="node1" presStyleIdx="0" presStyleCnt="2"/>
      <dgm:spPr/>
      <dgm:t>
        <a:bodyPr/>
        <a:lstStyle/>
        <a:p>
          <a:endParaRPr lang="el-GR"/>
        </a:p>
      </dgm:t>
    </dgm:pt>
    <dgm:pt modelId="{790CDD3D-C6E7-4168-8476-AD11E7E89D05}" type="pres">
      <dgm:prSet presAssocID="{139F27D0-33BA-46F8-929E-DDE5531A3EFA}" presName="c1text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E0A10B30-0BDB-4BC1-920E-CE60F7C54338}" type="pres">
      <dgm:prSet presAssocID="{139F27D0-33BA-46F8-929E-DDE5531A3EFA}" presName="comp2" presStyleCnt="0"/>
      <dgm:spPr/>
    </dgm:pt>
    <dgm:pt modelId="{45CBDC0E-8BC3-4755-A7B9-7A928DA2E474}" type="pres">
      <dgm:prSet presAssocID="{139F27D0-33BA-46F8-929E-DDE5531A3EFA}" presName="circle2" presStyleLbl="node1" presStyleIdx="1" presStyleCnt="2" custScaleX="70492" custScaleY="70492" custLinFactNeighborX="329" custLinFactNeighborY="16996"/>
      <dgm:spPr/>
      <dgm:t>
        <a:bodyPr/>
        <a:lstStyle/>
        <a:p>
          <a:endParaRPr lang="el-GR"/>
        </a:p>
      </dgm:t>
    </dgm:pt>
    <dgm:pt modelId="{8BA75686-023D-4614-B4BF-166E0E8B104D}" type="pres">
      <dgm:prSet presAssocID="{139F27D0-33BA-46F8-929E-DDE5531A3EFA}" presName="c2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267E0976-421B-4323-8397-FEA1BB08481F}" type="presOf" srcId="{3B982813-2EC8-49D2-9BF6-81C7D5B56F90}" destId="{A03E450C-80C2-423B-94B7-4E580CD100A9}" srcOrd="0" destOrd="0" presId="urn:microsoft.com/office/officeart/2005/8/layout/venn2"/>
    <dgm:cxn modelId="{BC7DBAAA-EC4F-4A04-A12B-BC8E05E78580}" type="presOf" srcId="{CCA4746E-8D1C-4C20-942F-0B29885FFCF8}" destId="{45CBDC0E-8BC3-4755-A7B9-7A928DA2E474}" srcOrd="0" destOrd="0" presId="urn:microsoft.com/office/officeart/2005/8/layout/venn2"/>
    <dgm:cxn modelId="{A07B4605-77EA-4F22-8BAF-5FC1988EB8EF}" srcId="{139F27D0-33BA-46F8-929E-DDE5531A3EFA}" destId="{CCA4746E-8D1C-4C20-942F-0B29885FFCF8}" srcOrd="1" destOrd="0" parTransId="{000FF610-83EB-48FA-8A28-7F4E037C3328}" sibTransId="{F5FCF9FF-57DB-4F98-9B24-3564D39C822C}"/>
    <dgm:cxn modelId="{9EDE67AF-E081-483C-A9B6-892ABE257F51}" type="presOf" srcId="{CCA4746E-8D1C-4C20-942F-0B29885FFCF8}" destId="{8BA75686-023D-4614-B4BF-166E0E8B104D}" srcOrd="1" destOrd="0" presId="urn:microsoft.com/office/officeart/2005/8/layout/venn2"/>
    <dgm:cxn modelId="{E0B2EBEE-7356-4C75-B4BA-8A475D82B9E9}" type="presOf" srcId="{139F27D0-33BA-46F8-929E-DDE5531A3EFA}" destId="{6F59DFD6-8362-45D6-8B53-AAE2836559EB}" srcOrd="0" destOrd="0" presId="urn:microsoft.com/office/officeart/2005/8/layout/venn2"/>
    <dgm:cxn modelId="{F48CBF68-2A4E-4121-8040-E5AFCEB87DC1}" type="presOf" srcId="{3B982813-2EC8-49D2-9BF6-81C7D5B56F90}" destId="{790CDD3D-C6E7-4168-8476-AD11E7E89D05}" srcOrd="1" destOrd="0" presId="urn:microsoft.com/office/officeart/2005/8/layout/venn2"/>
    <dgm:cxn modelId="{E1A4826C-0F4C-4A35-9A1B-2845CBA83E45}" srcId="{139F27D0-33BA-46F8-929E-DDE5531A3EFA}" destId="{3B982813-2EC8-49D2-9BF6-81C7D5B56F90}" srcOrd="0" destOrd="0" parTransId="{31E7F0DF-737F-4311-B69C-B4CE7048A7FF}" sibTransId="{80CA9DF3-AA55-4F88-A2A4-75E285E875A2}"/>
    <dgm:cxn modelId="{573EDDB0-F6FF-42AE-A31D-A13556770BE8}" type="presParOf" srcId="{6F59DFD6-8362-45D6-8B53-AAE2836559EB}" destId="{DDC4A763-2F7E-468F-8FFA-06AC1575FD09}" srcOrd="0" destOrd="0" presId="urn:microsoft.com/office/officeart/2005/8/layout/venn2"/>
    <dgm:cxn modelId="{C85C6D5D-3A63-44DA-A88F-E99E326B36CF}" type="presParOf" srcId="{DDC4A763-2F7E-468F-8FFA-06AC1575FD09}" destId="{A03E450C-80C2-423B-94B7-4E580CD100A9}" srcOrd="0" destOrd="0" presId="urn:microsoft.com/office/officeart/2005/8/layout/venn2"/>
    <dgm:cxn modelId="{9F3FB41C-B4D4-477E-BA50-7E0D2AD9F269}" type="presParOf" srcId="{DDC4A763-2F7E-468F-8FFA-06AC1575FD09}" destId="{790CDD3D-C6E7-4168-8476-AD11E7E89D05}" srcOrd="1" destOrd="0" presId="urn:microsoft.com/office/officeart/2005/8/layout/venn2"/>
    <dgm:cxn modelId="{3EEEE6A3-338E-4D17-AB6B-201812ABC03F}" type="presParOf" srcId="{6F59DFD6-8362-45D6-8B53-AAE2836559EB}" destId="{E0A10B30-0BDB-4BC1-920E-CE60F7C54338}" srcOrd="1" destOrd="0" presId="urn:microsoft.com/office/officeart/2005/8/layout/venn2"/>
    <dgm:cxn modelId="{983D56B6-CDEE-484E-82DB-EF623D5E0D79}" type="presParOf" srcId="{E0A10B30-0BDB-4BC1-920E-CE60F7C54338}" destId="{45CBDC0E-8BC3-4755-A7B9-7A928DA2E474}" srcOrd="0" destOrd="0" presId="urn:microsoft.com/office/officeart/2005/8/layout/venn2"/>
    <dgm:cxn modelId="{534CF032-8BF7-4C57-A28D-EFA149260006}" type="presParOf" srcId="{E0A10B30-0BDB-4BC1-920E-CE60F7C54338}" destId="{8BA75686-023D-4614-B4BF-166E0E8B104D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39F27D0-33BA-46F8-929E-DDE5531A3EFA}" type="doc">
      <dgm:prSet loTypeId="urn:microsoft.com/office/officeart/2005/8/layout/venn2" loCatId="relationship" qsTypeId="urn:microsoft.com/office/officeart/2005/8/quickstyle/simple1#2" qsCatId="simple" csTypeId="urn:microsoft.com/office/officeart/2005/8/colors/accent1_2#2" csCatId="accent1" phldr="1"/>
      <dgm:spPr/>
      <dgm:t>
        <a:bodyPr/>
        <a:lstStyle/>
        <a:p>
          <a:endParaRPr lang="el-GR"/>
        </a:p>
      </dgm:t>
    </dgm:pt>
    <dgm:pt modelId="{3B982813-2EC8-49D2-9BF6-81C7D5B56F90}">
      <dgm:prSet phldrT="[Κείμενο]"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endParaRPr lang="en-US" sz="1400" b="1" dirty="0"/>
        </a:p>
        <a:p>
          <a:endParaRPr lang="en-US" sz="1400" b="1" dirty="0"/>
        </a:p>
        <a:p>
          <a:r>
            <a:rPr lang="el-GR" sz="1400" b="1" dirty="0" smtClean="0">
              <a:solidFill>
                <a:schemeClr val="accent6">
                  <a:lumMod val="50000"/>
                </a:schemeClr>
              </a:solidFill>
            </a:rPr>
            <a:t>Εμπορικές Επιχειρήσεις </a:t>
          </a:r>
          <a:r>
            <a:rPr lang="el-GR" sz="1400" b="1" dirty="0">
              <a:solidFill>
                <a:schemeClr val="accent6">
                  <a:lumMod val="50000"/>
                </a:schemeClr>
              </a:solidFill>
            </a:rPr>
            <a:t>των οποίων ανεστάλη η λειτουργία με κρατική εντολή </a:t>
          </a:r>
        </a:p>
        <a:p>
          <a:r>
            <a:rPr lang="el-GR" sz="1400" b="1" dirty="0">
              <a:solidFill>
                <a:schemeClr val="accent6">
                  <a:lumMod val="50000"/>
                </a:schemeClr>
              </a:solidFill>
            </a:rPr>
            <a:t>(260.633)  </a:t>
          </a:r>
        </a:p>
      </dgm:t>
    </dgm:pt>
    <dgm:pt modelId="{31E7F0DF-737F-4311-B69C-B4CE7048A7FF}" type="parTrans" cxnId="{E1A4826C-0F4C-4A35-9A1B-2845CBA83E45}">
      <dgm:prSet/>
      <dgm:spPr/>
      <dgm:t>
        <a:bodyPr/>
        <a:lstStyle/>
        <a:p>
          <a:endParaRPr lang="el-GR"/>
        </a:p>
      </dgm:t>
    </dgm:pt>
    <dgm:pt modelId="{80CA9DF3-AA55-4F88-A2A4-75E285E875A2}" type="sibTrans" cxnId="{E1A4826C-0F4C-4A35-9A1B-2845CBA83E45}">
      <dgm:prSet/>
      <dgm:spPr/>
      <dgm:t>
        <a:bodyPr/>
        <a:lstStyle/>
        <a:p>
          <a:endParaRPr lang="el-GR"/>
        </a:p>
      </dgm:t>
    </dgm:pt>
    <dgm:pt modelId="{CCA4746E-8D1C-4C20-942F-0B29885FFCF8}">
      <dgm:prSet phldrT="[Κείμενο]" custT="1"/>
      <dgm:spPr>
        <a:solidFill>
          <a:schemeClr val="accent4">
            <a:lumMod val="75000"/>
          </a:schemeClr>
        </a:solidFill>
        <a:ln w="38100" cap="flat" cmpd="sng" algn="ctr">
          <a:solidFill>
            <a:prstClr val="white"/>
          </a:solidFill>
          <a:prstDash val="solid"/>
          <a:miter lim="800000"/>
        </a:ln>
        <a:effectLst/>
      </dgm:spPr>
      <dgm:t>
        <a:bodyPr spcFirstLastPara="0" vert="horz" wrap="square" lIns="92456" tIns="92456" rIns="92456" bIns="92456" numCol="1" spcCol="1270" anchor="ctr" anchorCtr="0"/>
        <a:lstStyle/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Επαναλειτουργούν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77.</a:t>
          </a:r>
          <a:r>
            <a:rPr lang="en-US" sz="13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396</a:t>
          </a:r>
          <a:endParaRPr lang="el-GR" sz="13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3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  </a:t>
          </a:r>
        </a:p>
        <a:p>
          <a:pPr marL="0"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l-GR" sz="1600" b="1" kern="1200" dirty="0" smtClean="0">
              <a:solidFill>
                <a:schemeClr val="bg1"/>
              </a:solidFill>
              <a:latin typeface="Calibri" panose="020F0502020204030204"/>
              <a:ea typeface="+mn-ea"/>
              <a:cs typeface="+mn-cs"/>
            </a:rPr>
            <a:t>30% </a:t>
          </a:r>
          <a:endParaRPr lang="el-GR" sz="1600" b="1" kern="1200" dirty="0">
            <a:solidFill>
              <a:schemeClr val="bg1"/>
            </a:solidFill>
            <a:latin typeface="Calibri" panose="020F0502020204030204"/>
            <a:ea typeface="+mn-ea"/>
            <a:cs typeface="+mn-cs"/>
          </a:endParaRPr>
        </a:p>
      </dgm:t>
    </dgm:pt>
    <dgm:pt modelId="{000FF610-83EB-48FA-8A28-7F4E037C3328}" type="parTrans" cxnId="{A07B4605-77EA-4F22-8BAF-5FC1988EB8EF}">
      <dgm:prSet/>
      <dgm:spPr/>
      <dgm:t>
        <a:bodyPr/>
        <a:lstStyle/>
        <a:p>
          <a:endParaRPr lang="el-GR"/>
        </a:p>
      </dgm:t>
    </dgm:pt>
    <dgm:pt modelId="{F5FCF9FF-57DB-4F98-9B24-3564D39C822C}" type="sibTrans" cxnId="{A07B4605-77EA-4F22-8BAF-5FC1988EB8EF}">
      <dgm:prSet/>
      <dgm:spPr/>
      <dgm:t>
        <a:bodyPr/>
        <a:lstStyle/>
        <a:p>
          <a:endParaRPr lang="el-GR"/>
        </a:p>
      </dgm:t>
    </dgm:pt>
    <dgm:pt modelId="{6F59DFD6-8362-45D6-8B53-AAE2836559EB}" type="pres">
      <dgm:prSet presAssocID="{139F27D0-33BA-46F8-929E-DDE5531A3EFA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l-GR"/>
        </a:p>
      </dgm:t>
    </dgm:pt>
    <dgm:pt modelId="{DDC4A763-2F7E-468F-8FFA-06AC1575FD09}" type="pres">
      <dgm:prSet presAssocID="{139F27D0-33BA-46F8-929E-DDE5531A3EFA}" presName="comp1" presStyleCnt="0"/>
      <dgm:spPr/>
    </dgm:pt>
    <dgm:pt modelId="{A03E450C-80C2-423B-94B7-4E580CD100A9}" type="pres">
      <dgm:prSet presAssocID="{139F27D0-33BA-46F8-929E-DDE5531A3EFA}" presName="circle1" presStyleLbl="node1" presStyleIdx="0" presStyleCnt="2"/>
      <dgm:spPr/>
      <dgm:t>
        <a:bodyPr/>
        <a:lstStyle/>
        <a:p>
          <a:endParaRPr lang="el-GR"/>
        </a:p>
      </dgm:t>
    </dgm:pt>
    <dgm:pt modelId="{790CDD3D-C6E7-4168-8476-AD11E7E89D05}" type="pres">
      <dgm:prSet presAssocID="{139F27D0-33BA-46F8-929E-DDE5531A3EFA}" presName="c1text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E0A10B30-0BDB-4BC1-920E-CE60F7C54338}" type="pres">
      <dgm:prSet presAssocID="{139F27D0-33BA-46F8-929E-DDE5531A3EFA}" presName="comp2" presStyleCnt="0"/>
      <dgm:spPr/>
    </dgm:pt>
    <dgm:pt modelId="{45CBDC0E-8BC3-4755-A7B9-7A928DA2E474}" type="pres">
      <dgm:prSet presAssocID="{139F27D0-33BA-46F8-929E-DDE5531A3EFA}" presName="circle2" presStyleLbl="node1" presStyleIdx="1" presStyleCnt="2" custScaleX="70492" custScaleY="70492" custLinFactNeighborX="329" custLinFactNeighborY="16996"/>
      <dgm:spPr>
        <a:xfrm>
          <a:off x="1964197" y="1907968"/>
          <a:ext cx="2140255" cy="2140255"/>
        </a:xfrm>
        <a:prstGeom prst="ellipse">
          <a:avLst/>
        </a:prstGeom>
      </dgm:spPr>
      <dgm:t>
        <a:bodyPr/>
        <a:lstStyle/>
        <a:p>
          <a:endParaRPr lang="el-GR"/>
        </a:p>
      </dgm:t>
    </dgm:pt>
    <dgm:pt modelId="{8BA75686-023D-4614-B4BF-166E0E8B104D}" type="pres">
      <dgm:prSet presAssocID="{139F27D0-33BA-46F8-929E-DDE5531A3EFA}" presName="c2text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0A36A1A4-7DDF-47ED-A749-258BF00C05B7}" type="presOf" srcId="{CCA4746E-8D1C-4C20-942F-0B29885FFCF8}" destId="{8BA75686-023D-4614-B4BF-166E0E8B104D}" srcOrd="1" destOrd="0" presId="urn:microsoft.com/office/officeart/2005/8/layout/venn2"/>
    <dgm:cxn modelId="{64289A45-3A8A-49DC-996E-885C571D5E41}" type="presOf" srcId="{3B982813-2EC8-49D2-9BF6-81C7D5B56F90}" destId="{790CDD3D-C6E7-4168-8476-AD11E7E89D05}" srcOrd="1" destOrd="0" presId="urn:microsoft.com/office/officeart/2005/8/layout/venn2"/>
    <dgm:cxn modelId="{4A3D30A4-DB65-4522-B994-BA9C7F2C3D43}" type="presOf" srcId="{139F27D0-33BA-46F8-929E-DDE5531A3EFA}" destId="{6F59DFD6-8362-45D6-8B53-AAE2836559EB}" srcOrd="0" destOrd="0" presId="urn:microsoft.com/office/officeart/2005/8/layout/venn2"/>
    <dgm:cxn modelId="{A07B4605-77EA-4F22-8BAF-5FC1988EB8EF}" srcId="{139F27D0-33BA-46F8-929E-DDE5531A3EFA}" destId="{CCA4746E-8D1C-4C20-942F-0B29885FFCF8}" srcOrd="1" destOrd="0" parTransId="{000FF610-83EB-48FA-8A28-7F4E037C3328}" sibTransId="{F5FCF9FF-57DB-4F98-9B24-3564D39C822C}"/>
    <dgm:cxn modelId="{F48A63D2-2B79-40FE-BE96-1D27B588643B}" type="presOf" srcId="{3B982813-2EC8-49D2-9BF6-81C7D5B56F90}" destId="{A03E450C-80C2-423B-94B7-4E580CD100A9}" srcOrd="0" destOrd="0" presId="urn:microsoft.com/office/officeart/2005/8/layout/venn2"/>
    <dgm:cxn modelId="{A45C551B-D10D-4FFB-AF07-D29A02B8698D}" type="presOf" srcId="{CCA4746E-8D1C-4C20-942F-0B29885FFCF8}" destId="{45CBDC0E-8BC3-4755-A7B9-7A928DA2E474}" srcOrd="0" destOrd="0" presId="urn:microsoft.com/office/officeart/2005/8/layout/venn2"/>
    <dgm:cxn modelId="{E1A4826C-0F4C-4A35-9A1B-2845CBA83E45}" srcId="{139F27D0-33BA-46F8-929E-DDE5531A3EFA}" destId="{3B982813-2EC8-49D2-9BF6-81C7D5B56F90}" srcOrd="0" destOrd="0" parTransId="{31E7F0DF-737F-4311-B69C-B4CE7048A7FF}" sibTransId="{80CA9DF3-AA55-4F88-A2A4-75E285E875A2}"/>
    <dgm:cxn modelId="{25A9498F-2CE6-4518-8F0F-295296124EFC}" type="presParOf" srcId="{6F59DFD6-8362-45D6-8B53-AAE2836559EB}" destId="{DDC4A763-2F7E-468F-8FFA-06AC1575FD09}" srcOrd="0" destOrd="0" presId="urn:microsoft.com/office/officeart/2005/8/layout/venn2"/>
    <dgm:cxn modelId="{582B4F58-1164-4BEF-B5CE-E0F1CBB80535}" type="presParOf" srcId="{DDC4A763-2F7E-468F-8FFA-06AC1575FD09}" destId="{A03E450C-80C2-423B-94B7-4E580CD100A9}" srcOrd="0" destOrd="0" presId="urn:microsoft.com/office/officeart/2005/8/layout/venn2"/>
    <dgm:cxn modelId="{E74BA6FA-DA03-49EE-AB0F-44C72C7DC855}" type="presParOf" srcId="{DDC4A763-2F7E-468F-8FFA-06AC1575FD09}" destId="{790CDD3D-C6E7-4168-8476-AD11E7E89D05}" srcOrd="1" destOrd="0" presId="urn:microsoft.com/office/officeart/2005/8/layout/venn2"/>
    <dgm:cxn modelId="{AF15A8AA-146B-4283-AF78-13740B823681}" type="presParOf" srcId="{6F59DFD6-8362-45D6-8B53-AAE2836559EB}" destId="{E0A10B30-0BDB-4BC1-920E-CE60F7C54338}" srcOrd="1" destOrd="0" presId="urn:microsoft.com/office/officeart/2005/8/layout/venn2"/>
    <dgm:cxn modelId="{E1FB1634-D067-47D0-8256-D49DA3CAE26D}" type="presParOf" srcId="{E0A10B30-0BDB-4BC1-920E-CE60F7C54338}" destId="{45CBDC0E-8BC3-4755-A7B9-7A928DA2E474}" srcOrd="0" destOrd="0" presId="urn:microsoft.com/office/officeart/2005/8/layout/venn2"/>
    <dgm:cxn modelId="{CDEDA5EE-8835-4B42-8573-ECE9330B62C4}" type="presParOf" srcId="{E0A10B30-0BDB-4BC1-920E-CE60F7C54338}" destId="{8BA75686-023D-4614-B4BF-166E0E8B104D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4E5DEB1-F32D-42B2-B82F-BAA4139BADD7}" type="doc">
      <dgm:prSet loTypeId="urn:microsoft.com/office/officeart/2005/8/layout/equation1" loCatId="relationship" qsTypeId="urn:microsoft.com/office/officeart/2005/8/quickstyle/simple1#3" qsCatId="simple" csTypeId="urn:microsoft.com/office/officeart/2005/8/colors/colorful4" csCatId="colorful" phldr="1"/>
      <dgm:spPr/>
    </dgm:pt>
    <dgm:pt modelId="{0B1EAAB9-2035-432F-8648-8262700522E9}">
      <dgm:prSet phldrT="[Κείμενο]"/>
      <dgm:spPr/>
      <dgm:t>
        <a:bodyPr/>
        <a:lstStyle/>
        <a:p>
          <a:r>
            <a:rPr lang="el-GR" b="1" dirty="0" smtClean="0"/>
            <a:t>68.523</a:t>
          </a:r>
          <a:endParaRPr lang="el-GR" b="1" dirty="0"/>
        </a:p>
      </dgm:t>
    </dgm:pt>
    <dgm:pt modelId="{09B87D00-31B8-44E2-89D1-9EACEA7E6B95}" type="parTrans" cxnId="{BA9CD194-D51A-45BE-870D-0383F0AC7475}">
      <dgm:prSet/>
      <dgm:spPr/>
      <dgm:t>
        <a:bodyPr/>
        <a:lstStyle/>
        <a:p>
          <a:endParaRPr lang="el-GR"/>
        </a:p>
      </dgm:t>
    </dgm:pt>
    <dgm:pt modelId="{ABA10E6C-9171-4A6F-98EA-299440B00DAD}" type="sibTrans" cxnId="{BA9CD194-D51A-45BE-870D-0383F0AC7475}">
      <dgm:prSet/>
      <dgm:spPr/>
      <dgm:t>
        <a:bodyPr/>
        <a:lstStyle/>
        <a:p>
          <a:endParaRPr lang="el-GR"/>
        </a:p>
      </dgm:t>
    </dgm:pt>
    <dgm:pt modelId="{1AAAF98C-B376-48DD-B32C-09051C3870C6}">
      <dgm:prSet phldrT="[Κείμενο]"/>
      <dgm:spPr/>
      <dgm:t>
        <a:bodyPr/>
        <a:lstStyle/>
        <a:p>
          <a:r>
            <a:rPr lang="el-GR" b="1" smtClean="0">
              <a:latin typeface="Calibri" panose="020F0502020204030204"/>
              <a:ea typeface="+mn-ea"/>
              <a:cs typeface="+mn-cs"/>
            </a:rPr>
            <a:t>155.962  </a:t>
          </a:r>
          <a:endParaRPr lang="el-GR" dirty="0"/>
        </a:p>
      </dgm:t>
    </dgm:pt>
    <dgm:pt modelId="{26D4C00E-9DB9-4920-8D29-65F20A61188F}" type="parTrans" cxnId="{929D74E5-1B2F-4E27-B8CF-8AE5039C9CA8}">
      <dgm:prSet/>
      <dgm:spPr/>
      <dgm:t>
        <a:bodyPr/>
        <a:lstStyle/>
        <a:p>
          <a:endParaRPr lang="el-GR"/>
        </a:p>
      </dgm:t>
    </dgm:pt>
    <dgm:pt modelId="{00C559F7-DF0F-4150-AD11-717B2E191B31}" type="sibTrans" cxnId="{929D74E5-1B2F-4E27-B8CF-8AE5039C9CA8}">
      <dgm:prSet/>
      <dgm:spPr/>
      <dgm:t>
        <a:bodyPr/>
        <a:lstStyle/>
        <a:p>
          <a:endParaRPr lang="el-GR"/>
        </a:p>
      </dgm:t>
    </dgm:pt>
    <dgm:pt modelId="{89627D0D-D094-4C1B-B536-81934CB97AFD}">
      <dgm:prSet phldrT="[Κείμενο]"/>
      <dgm:spPr/>
      <dgm:t>
        <a:bodyPr/>
        <a:lstStyle/>
        <a:p>
          <a:r>
            <a:rPr lang="el-GR" b="1" dirty="0" smtClean="0"/>
            <a:t>53</a:t>
          </a:r>
          <a:r>
            <a:rPr lang="en-US" b="1" dirty="0" smtClean="0"/>
            <a:t>1</a:t>
          </a:r>
          <a:r>
            <a:rPr lang="el-GR" b="1" dirty="0" smtClean="0"/>
            <a:t>.</a:t>
          </a:r>
          <a:r>
            <a:rPr lang="en-US" b="1" dirty="0" smtClean="0"/>
            <a:t>542</a:t>
          </a:r>
          <a:endParaRPr lang="el-GR" b="1" dirty="0" smtClean="0"/>
        </a:p>
        <a:p>
          <a:r>
            <a:rPr lang="el-GR" b="1" dirty="0" smtClean="0"/>
            <a:t>(77%)</a:t>
          </a:r>
          <a:endParaRPr lang="el-GR" b="1" dirty="0"/>
        </a:p>
      </dgm:t>
    </dgm:pt>
    <dgm:pt modelId="{F3F278CE-F9F5-47FA-863D-8FF2AD44DC61}" type="parTrans" cxnId="{392A0DA3-C0CC-4C63-AF2D-57002FAE89EF}">
      <dgm:prSet/>
      <dgm:spPr/>
      <dgm:t>
        <a:bodyPr/>
        <a:lstStyle/>
        <a:p>
          <a:endParaRPr lang="el-GR"/>
        </a:p>
      </dgm:t>
    </dgm:pt>
    <dgm:pt modelId="{9189D91D-F122-441B-9647-75D2DB5848F3}" type="sibTrans" cxnId="{392A0DA3-C0CC-4C63-AF2D-57002FAE89EF}">
      <dgm:prSet/>
      <dgm:spPr/>
      <dgm:t>
        <a:bodyPr/>
        <a:lstStyle/>
        <a:p>
          <a:endParaRPr lang="el-GR"/>
        </a:p>
      </dgm:t>
    </dgm:pt>
    <dgm:pt modelId="{1210A2A2-C6F6-4766-86CE-9E72EC36EB24}">
      <dgm:prSet phldrT="[Κείμενο]"/>
      <dgm:spPr/>
      <dgm:t>
        <a:bodyPr/>
        <a:lstStyle/>
        <a:p>
          <a:r>
            <a:rPr lang="el-GR" b="1" dirty="0" smtClean="0"/>
            <a:t>6.669</a:t>
          </a:r>
          <a:endParaRPr lang="el-GR" b="1" dirty="0"/>
        </a:p>
      </dgm:t>
    </dgm:pt>
    <dgm:pt modelId="{6D1E4ECC-0EF2-4DDD-8E16-FD9EF0DAA118}" type="parTrans" cxnId="{42B6169E-C33D-4DF8-8B19-14E33BE66079}">
      <dgm:prSet/>
      <dgm:spPr/>
      <dgm:t>
        <a:bodyPr/>
        <a:lstStyle/>
        <a:p>
          <a:endParaRPr lang="el-GR"/>
        </a:p>
      </dgm:t>
    </dgm:pt>
    <dgm:pt modelId="{5AC99656-2B89-481A-AB65-EC3F5935ABF5}" type="sibTrans" cxnId="{42B6169E-C33D-4DF8-8B19-14E33BE66079}">
      <dgm:prSet/>
      <dgm:spPr/>
      <dgm:t>
        <a:bodyPr/>
        <a:lstStyle/>
        <a:p>
          <a:endParaRPr lang="el-GR"/>
        </a:p>
      </dgm:t>
    </dgm:pt>
    <dgm:pt modelId="{86F745AB-D2C6-4B68-82A0-00AA8CFA2000}">
      <dgm:prSet phldrT="[Κείμενο]"/>
      <dgm:spPr/>
      <dgm:t>
        <a:bodyPr/>
        <a:lstStyle/>
        <a:p>
          <a:r>
            <a:rPr lang="el-GR" b="1" dirty="0" smtClean="0"/>
            <a:t>300.388</a:t>
          </a:r>
          <a:endParaRPr lang="el-GR" b="1" dirty="0"/>
        </a:p>
      </dgm:t>
    </dgm:pt>
    <dgm:pt modelId="{AEA5DFCE-A355-40D1-B4EC-5C2C1F556335}" type="parTrans" cxnId="{6E028CF0-7AB9-4344-A62B-C6E91C5C1DB0}">
      <dgm:prSet/>
      <dgm:spPr/>
      <dgm:t>
        <a:bodyPr/>
        <a:lstStyle/>
        <a:p>
          <a:endParaRPr lang="el-GR"/>
        </a:p>
      </dgm:t>
    </dgm:pt>
    <dgm:pt modelId="{B66C0663-5ABF-413B-A48F-BD912106BC2A}" type="sibTrans" cxnId="{6E028CF0-7AB9-4344-A62B-C6E91C5C1DB0}">
      <dgm:prSet/>
      <dgm:spPr/>
      <dgm:t>
        <a:bodyPr/>
        <a:lstStyle/>
        <a:p>
          <a:endParaRPr lang="el-GR"/>
        </a:p>
      </dgm:t>
    </dgm:pt>
    <dgm:pt modelId="{670B754E-C896-4088-B04C-84F730F65D37}" type="pres">
      <dgm:prSet presAssocID="{F4E5DEB1-F32D-42B2-B82F-BAA4139BADD7}" presName="linearFlow" presStyleCnt="0">
        <dgm:presLayoutVars>
          <dgm:dir/>
          <dgm:resizeHandles val="exact"/>
        </dgm:presLayoutVars>
      </dgm:prSet>
      <dgm:spPr/>
    </dgm:pt>
    <dgm:pt modelId="{13DFEB32-BEAA-43D4-8420-832402BA4A34}" type="pres">
      <dgm:prSet presAssocID="{0B1EAAB9-2035-432F-8648-8262700522E9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3CF2E5AE-1D0C-4A77-9682-35C0EAA9275B}" type="pres">
      <dgm:prSet presAssocID="{ABA10E6C-9171-4A6F-98EA-299440B00DAD}" presName="spacerL" presStyleCnt="0"/>
      <dgm:spPr/>
    </dgm:pt>
    <dgm:pt modelId="{D3F546A5-5171-4E8A-8EAE-B258473985BC}" type="pres">
      <dgm:prSet presAssocID="{ABA10E6C-9171-4A6F-98EA-299440B00DAD}" presName="sibTrans" presStyleLbl="sibTrans2D1" presStyleIdx="0" presStyleCnt="4"/>
      <dgm:spPr/>
      <dgm:t>
        <a:bodyPr/>
        <a:lstStyle/>
        <a:p>
          <a:endParaRPr lang="el-GR"/>
        </a:p>
      </dgm:t>
    </dgm:pt>
    <dgm:pt modelId="{8DB036C4-F3FC-4780-B6F8-EF9CC4AEAFAA}" type="pres">
      <dgm:prSet presAssocID="{ABA10E6C-9171-4A6F-98EA-299440B00DAD}" presName="spacerR" presStyleCnt="0"/>
      <dgm:spPr/>
    </dgm:pt>
    <dgm:pt modelId="{4A0A71D1-E3BA-4D98-9A49-5CD008C198C4}" type="pres">
      <dgm:prSet presAssocID="{1AAAF98C-B376-48DD-B32C-09051C3870C6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2B51B7A0-8623-41AE-BFC8-768DD75345FA}" type="pres">
      <dgm:prSet presAssocID="{00C559F7-DF0F-4150-AD11-717B2E191B31}" presName="spacerL" presStyleCnt="0"/>
      <dgm:spPr/>
    </dgm:pt>
    <dgm:pt modelId="{FC545151-7CA4-4760-B41B-DC70C9952FFD}" type="pres">
      <dgm:prSet presAssocID="{00C559F7-DF0F-4150-AD11-717B2E191B31}" presName="sibTrans" presStyleLbl="sibTrans2D1" presStyleIdx="1" presStyleCnt="4"/>
      <dgm:spPr/>
      <dgm:t>
        <a:bodyPr/>
        <a:lstStyle/>
        <a:p>
          <a:endParaRPr lang="el-GR"/>
        </a:p>
      </dgm:t>
    </dgm:pt>
    <dgm:pt modelId="{565E511C-3603-4E16-BA14-5A9C9C5EAF48}" type="pres">
      <dgm:prSet presAssocID="{00C559F7-DF0F-4150-AD11-717B2E191B31}" presName="spacerR" presStyleCnt="0"/>
      <dgm:spPr/>
    </dgm:pt>
    <dgm:pt modelId="{9F29C26A-9E9D-4611-902F-DD75C0F7DACA}" type="pres">
      <dgm:prSet presAssocID="{1210A2A2-C6F6-4766-86CE-9E72EC36EB24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AB0EF22A-1038-4B3E-9D66-C039167674F3}" type="pres">
      <dgm:prSet presAssocID="{5AC99656-2B89-481A-AB65-EC3F5935ABF5}" presName="spacerL" presStyleCnt="0"/>
      <dgm:spPr/>
    </dgm:pt>
    <dgm:pt modelId="{480780DE-7FAD-4527-8675-05E641449FE1}" type="pres">
      <dgm:prSet presAssocID="{5AC99656-2B89-481A-AB65-EC3F5935ABF5}" presName="sibTrans" presStyleLbl="sibTrans2D1" presStyleIdx="2" presStyleCnt="4"/>
      <dgm:spPr/>
      <dgm:t>
        <a:bodyPr/>
        <a:lstStyle/>
        <a:p>
          <a:endParaRPr lang="el-GR"/>
        </a:p>
      </dgm:t>
    </dgm:pt>
    <dgm:pt modelId="{8A3D64DE-44C1-4F96-BB9A-44CCA16F9292}" type="pres">
      <dgm:prSet presAssocID="{5AC99656-2B89-481A-AB65-EC3F5935ABF5}" presName="spacerR" presStyleCnt="0"/>
      <dgm:spPr/>
    </dgm:pt>
    <dgm:pt modelId="{FCD60A63-329F-4616-ACF3-21958455DDB8}" type="pres">
      <dgm:prSet presAssocID="{86F745AB-D2C6-4B68-82A0-00AA8CFA2000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CA57A9AC-811D-41B5-BA62-1675C39AD1A5}" type="pres">
      <dgm:prSet presAssocID="{B66C0663-5ABF-413B-A48F-BD912106BC2A}" presName="spacerL" presStyleCnt="0"/>
      <dgm:spPr/>
    </dgm:pt>
    <dgm:pt modelId="{F6EF7D04-C3C9-4740-BF2D-52E8FD05D7E2}" type="pres">
      <dgm:prSet presAssocID="{B66C0663-5ABF-413B-A48F-BD912106BC2A}" presName="sibTrans" presStyleLbl="sibTrans2D1" presStyleIdx="3" presStyleCnt="4"/>
      <dgm:spPr/>
      <dgm:t>
        <a:bodyPr/>
        <a:lstStyle/>
        <a:p>
          <a:endParaRPr lang="el-GR"/>
        </a:p>
      </dgm:t>
    </dgm:pt>
    <dgm:pt modelId="{4613585F-B1B0-45A9-89F7-2F279129476F}" type="pres">
      <dgm:prSet presAssocID="{B66C0663-5ABF-413B-A48F-BD912106BC2A}" presName="spacerR" presStyleCnt="0"/>
      <dgm:spPr/>
    </dgm:pt>
    <dgm:pt modelId="{03FA384B-8606-446F-B863-7C9891326A78}" type="pres">
      <dgm:prSet presAssocID="{89627D0D-D094-4C1B-B536-81934CB97AFD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854B8971-B978-46EF-AE22-907FE1B82CC6}" type="presOf" srcId="{86F745AB-D2C6-4B68-82A0-00AA8CFA2000}" destId="{FCD60A63-329F-4616-ACF3-21958455DDB8}" srcOrd="0" destOrd="0" presId="urn:microsoft.com/office/officeart/2005/8/layout/equation1"/>
    <dgm:cxn modelId="{1DC5AC8C-7FE7-46C8-BEA4-2A908E04C90C}" type="presOf" srcId="{B66C0663-5ABF-413B-A48F-BD912106BC2A}" destId="{F6EF7D04-C3C9-4740-BF2D-52E8FD05D7E2}" srcOrd="0" destOrd="0" presId="urn:microsoft.com/office/officeart/2005/8/layout/equation1"/>
    <dgm:cxn modelId="{DC6E40DF-75E0-48BF-AEEC-7B6946F1BC62}" type="presOf" srcId="{1210A2A2-C6F6-4766-86CE-9E72EC36EB24}" destId="{9F29C26A-9E9D-4611-902F-DD75C0F7DACA}" srcOrd="0" destOrd="0" presId="urn:microsoft.com/office/officeart/2005/8/layout/equation1"/>
    <dgm:cxn modelId="{C2928FE6-35D4-4585-AACD-2074E01820E0}" type="presOf" srcId="{00C559F7-DF0F-4150-AD11-717B2E191B31}" destId="{FC545151-7CA4-4760-B41B-DC70C9952FFD}" srcOrd="0" destOrd="0" presId="urn:microsoft.com/office/officeart/2005/8/layout/equation1"/>
    <dgm:cxn modelId="{935D6237-A837-4EB6-B474-577F50129B37}" type="presOf" srcId="{0B1EAAB9-2035-432F-8648-8262700522E9}" destId="{13DFEB32-BEAA-43D4-8420-832402BA4A34}" srcOrd="0" destOrd="0" presId="urn:microsoft.com/office/officeart/2005/8/layout/equation1"/>
    <dgm:cxn modelId="{B59F8EDE-4111-4623-9D4E-021E65B344CA}" type="presOf" srcId="{ABA10E6C-9171-4A6F-98EA-299440B00DAD}" destId="{D3F546A5-5171-4E8A-8EAE-B258473985BC}" srcOrd="0" destOrd="0" presId="urn:microsoft.com/office/officeart/2005/8/layout/equation1"/>
    <dgm:cxn modelId="{BA9CD194-D51A-45BE-870D-0383F0AC7475}" srcId="{F4E5DEB1-F32D-42B2-B82F-BAA4139BADD7}" destId="{0B1EAAB9-2035-432F-8648-8262700522E9}" srcOrd="0" destOrd="0" parTransId="{09B87D00-31B8-44E2-89D1-9EACEA7E6B95}" sibTransId="{ABA10E6C-9171-4A6F-98EA-299440B00DAD}"/>
    <dgm:cxn modelId="{C294615F-91B7-484C-A569-9A6440A2B93E}" type="presOf" srcId="{F4E5DEB1-F32D-42B2-B82F-BAA4139BADD7}" destId="{670B754E-C896-4088-B04C-84F730F65D37}" srcOrd="0" destOrd="0" presId="urn:microsoft.com/office/officeart/2005/8/layout/equation1"/>
    <dgm:cxn modelId="{71D6808D-BC14-43C3-9C2A-E046917C9330}" type="presOf" srcId="{5AC99656-2B89-481A-AB65-EC3F5935ABF5}" destId="{480780DE-7FAD-4527-8675-05E641449FE1}" srcOrd="0" destOrd="0" presId="urn:microsoft.com/office/officeart/2005/8/layout/equation1"/>
    <dgm:cxn modelId="{929D74E5-1B2F-4E27-B8CF-8AE5039C9CA8}" srcId="{F4E5DEB1-F32D-42B2-B82F-BAA4139BADD7}" destId="{1AAAF98C-B376-48DD-B32C-09051C3870C6}" srcOrd="1" destOrd="0" parTransId="{26D4C00E-9DB9-4920-8D29-65F20A61188F}" sibTransId="{00C559F7-DF0F-4150-AD11-717B2E191B31}"/>
    <dgm:cxn modelId="{6E028CF0-7AB9-4344-A62B-C6E91C5C1DB0}" srcId="{F4E5DEB1-F32D-42B2-B82F-BAA4139BADD7}" destId="{86F745AB-D2C6-4B68-82A0-00AA8CFA2000}" srcOrd="3" destOrd="0" parTransId="{AEA5DFCE-A355-40D1-B4EC-5C2C1F556335}" sibTransId="{B66C0663-5ABF-413B-A48F-BD912106BC2A}"/>
    <dgm:cxn modelId="{392A0DA3-C0CC-4C63-AF2D-57002FAE89EF}" srcId="{F4E5DEB1-F32D-42B2-B82F-BAA4139BADD7}" destId="{89627D0D-D094-4C1B-B536-81934CB97AFD}" srcOrd="4" destOrd="0" parTransId="{F3F278CE-F9F5-47FA-863D-8FF2AD44DC61}" sibTransId="{9189D91D-F122-441B-9647-75D2DB5848F3}"/>
    <dgm:cxn modelId="{A1299478-6160-4434-909F-41FEE70E95B3}" type="presOf" srcId="{89627D0D-D094-4C1B-B536-81934CB97AFD}" destId="{03FA384B-8606-446F-B863-7C9891326A78}" srcOrd="0" destOrd="0" presId="urn:microsoft.com/office/officeart/2005/8/layout/equation1"/>
    <dgm:cxn modelId="{42B6169E-C33D-4DF8-8B19-14E33BE66079}" srcId="{F4E5DEB1-F32D-42B2-B82F-BAA4139BADD7}" destId="{1210A2A2-C6F6-4766-86CE-9E72EC36EB24}" srcOrd="2" destOrd="0" parTransId="{6D1E4ECC-0EF2-4DDD-8E16-FD9EF0DAA118}" sibTransId="{5AC99656-2B89-481A-AB65-EC3F5935ABF5}"/>
    <dgm:cxn modelId="{EC28EB50-459F-4E98-A56F-72516CB6D77D}" type="presOf" srcId="{1AAAF98C-B376-48DD-B32C-09051C3870C6}" destId="{4A0A71D1-E3BA-4D98-9A49-5CD008C198C4}" srcOrd="0" destOrd="0" presId="urn:microsoft.com/office/officeart/2005/8/layout/equation1"/>
    <dgm:cxn modelId="{0C10AF59-B36F-4642-BADB-5D6E9AF65CDD}" type="presParOf" srcId="{670B754E-C896-4088-B04C-84F730F65D37}" destId="{13DFEB32-BEAA-43D4-8420-832402BA4A34}" srcOrd="0" destOrd="0" presId="urn:microsoft.com/office/officeart/2005/8/layout/equation1"/>
    <dgm:cxn modelId="{04BC6CB3-DE92-4EEA-8E4A-87366930ACF6}" type="presParOf" srcId="{670B754E-C896-4088-B04C-84F730F65D37}" destId="{3CF2E5AE-1D0C-4A77-9682-35C0EAA9275B}" srcOrd="1" destOrd="0" presId="urn:microsoft.com/office/officeart/2005/8/layout/equation1"/>
    <dgm:cxn modelId="{B1805A71-EF1C-4A7B-95FE-66F305CAA205}" type="presParOf" srcId="{670B754E-C896-4088-B04C-84F730F65D37}" destId="{D3F546A5-5171-4E8A-8EAE-B258473985BC}" srcOrd="2" destOrd="0" presId="urn:microsoft.com/office/officeart/2005/8/layout/equation1"/>
    <dgm:cxn modelId="{C65B4C59-3649-444D-B9C0-9E5EF9B4F7F4}" type="presParOf" srcId="{670B754E-C896-4088-B04C-84F730F65D37}" destId="{8DB036C4-F3FC-4780-B6F8-EF9CC4AEAFAA}" srcOrd="3" destOrd="0" presId="urn:microsoft.com/office/officeart/2005/8/layout/equation1"/>
    <dgm:cxn modelId="{889AD4B5-7B88-4F4A-8483-6CB4FD596136}" type="presParOf" srcId="{670B754E-C896-4088-B04C-84F730F65D37}" destId="{4A0A71D1-E3BA-4D98-9A49-5CD008C198C4}" srcOrd="4" destOrd="0" presId="urn:microsoft.com/office/officeart/2005/8/layout/equation1"/>
    <dgm:cxn modelId="{A77A19BA-E790-4B81-BBCC-8540094562FF}" type="presParOf" srcId="{670B754E-C896-4088-B04C-84F730F65D37}" destId="{2B51B7A0-8623-41AE-BFC8-768DD75345FA}" srcOrd="5" destOrd="0" presId="urn:microsoft.com/office/officeart/2005/8/layout/equation1"/>
    <dgm:cxn modelId="{B21C28BC-6A32-4881-8EBD-D2A0464D4807}" type="presParOf" srcId="{670B754E-C896-4088-B04C-84F730F65D37}" destId="{FC545151-7CA4-4760-B41B-DC70C9952FFD}" srcOrd="6" destOrd="0" presId="urn:microsoft.com/office/officeart/2005/8/layout/equation1"/>
    <dgm:cxn modelId="{29C643EB-0CDF-4B73-B260-013A1AED695B}" type="presParOf" srcId="{670B754E-C896-4088-B04C-84F730F65D37}" destId="{565E511C-3603-4E16-BA14-5A9C9C5EAF48}" srcOrd="7" destOrd="0" presId="urn:microsoft.com/office/officeart/2005/8/layout/equation1"/>
    <dgm:cxn modelId="{7E538B2A-77E0-4AC7-A6A4-B73CCBCB80E5}" type="presParOf" srcId="{670B754E-C896-4088-B04C-84F730F65D37}" destId="{9F29C26A-9E9D-4611-902F-DD75C0F7DACA}" srcOrd="8" destOrd="0" presId="urn:microsoft.com/office/officeart/2005/8/layout/equation1"/>
    <dgm:cxn modelId="{C06716D9-86CC-4931-8449-56D7E2601909}" type="presParOf" srcId="{670B754E-C896-4088-B04C-84F730F65D37}" destId="{AB0EF22A-1038-4B3E-9D66-C039167674F3}" srcOrd="9" destOrd="0" presId="urn:microsoft.com/office/officeart/2005/8/layout/equation1"/>
    <dgm:cxn modelId="{FFA0B5AC-EB41-4FD6-872B-732F04429107}" type="presParOf" srcId="{670B754E-C896-4088-B04C-84F730F65D37}" destId="{480780DE-7FAD-4527-8675-05E641449FE1}" srcOrd="10" destOrd="0" presId="urn:microsoft.com/office/officeart/2005/8/layout/equation1"/>
    <dgm:cxn modelId="{018F41C4-5361-4B35-BF2A-9EBF77DB8C5B}" type="presParOf" srcId="{670B754E-C896-4088-B04C-84F730F65D37}" destId="{8A3D64DE-44C1-4F96-BB9A-44CCA16F9292}" srcOrd="11" destOrd="0" presId="urn:microsoft.com/office/officeart/2005/8/layout/equation1"/>
    <dgm:cxn modelId="{DF7E6AE7-BF5F-48AF-84F1-18F8574698E3}" type="presParOf" srcId="{670B754E-C896-4088-B04C-84F730F65D37}" destId="{FCD60A63-329F-4616-ACF3-21958455DDB8}" srcOrd="12" destOrd="0" presId="urn:microsoft.com/office/officeart/2005/8/layout/equation1"/>
    <dgm:cxn modelId="{FDB8CEEB-90FF-46A1-9796-D808DEA660FC}" type="presParOf" srcId="{670B754E-C896-4088-B04C-84F730F65D37}" destId="{CA57A9AC-811D-41B5-BA62-1675C39AD1A5}" srcOrd="13" destOrd="0" presId="urn:microsoft.com/office/officeart/2005/8/layout/equation1"/>
    <dgm:cxn modelId="{74299DD1-12A9-4193-8B0A-E5B4C58A5D4B}" type="presParOf" srcId="{670B754E-C896-4088-B04C-84F730F65D37}" destId="{F6EF7D04-C3C9-4740-BF2D-52E8FD05D7E2}" srcOrd="14" destOrd="0" presId="urn:microsoft.com/office/officeart/2005/8/layout/equation1"/>
    <dgm:cxn modelId="{EDABA8A5-AA37-41BE-8267-F31EDF3EBFDE}" type="presParOf" srcId="{670B754E-C896-4088-B04C-84F730F65D37}" destId="{4613585F-B1B0-45A9-89F7-2F279129476F}" srcOrd="15" destOrd="0" presId="urn:microsoft.com/office/officeart/2005/8/layout/equation1"/>
    <dgm:cxn modelId="{9180130B-8C02-426F-B601-3E4E8DE094C8}" type="presParOf" srcId="{670B754E-C896-4088-B04C-84F730F65D37}" destId="{03FA384B-8606-446F-B863-7C9891326A78}" srcOrd="16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4E5DEB1-F32D-42B2-B82F-BAA4139BADD7}" type="doc">
      <dgm:prSet loTypeId="urn:microsoft.com/office/officeart/2005/8/layout/equation1" loCatId="relationship" qsTypeId="urn:microsoft.com/office/officeart/2005/8/quickstyle/simple1#4" qsCatId="simple" csTypeId="urn:microsoft.com/office/officeart/2005/8/colors/accent3_4" csCatId="accent3" phldr="1"/>
      <dgm:spPr/>
    </dgm:pt>
    <dgm:pt modelId="{0B1EAAB9-2035-432F-8648-8262700522E9}">
      <dgm:prSet phldrT="[Κείμενο]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en-US" b="1" dirty="0" smtClean="0"/>
            <a:t>26.167</a:t>
          </a:r>
          <a:endParaRPr lang="el-GR" b="1" dirty="0"/>
        </a:p>
      </dgm:t>
    </dgm:pt>
    <dgm:pt modelId="{09B87D00-31B8-44E2-89D1-9EACEA7E6B95}" type="parTrans" cxnId="{BA9CD194-D51A-45BE-870D-0383F0AC7475}">
      <dgm:prSet/>
      <dgm:spPr/>
      <dgm:t>
        <a:bodyPr/>
        <a:lstStyle/>
        <a:p>
          <a:endParaRPr lang="el-GR"/>
        </a:p>
      </dgm:t>
    </dgm:pt>
    <dgm:pt modelId="{ABA10E6C-9171-4A6F-98EA-299440B00DAD}" type="sibTrans" cxnId="{BA9CD194-D51A-45BE-870D-0383F0AC7475}">
      <dgm:prSet/>
      <dgm:spPr/>
      <dgm:t>
        <a:bodyPr/>
        <a:lstStyle/>
        <a:p>
          <a:endParaRPr lang="el-GR"/>
        </a:p>
      </dgm:t>
    </dgm:pt>
    <dgm:pt modelId="{1AAAF98C-B376-48DD-B32C-09051C3870C6}">
      <dgm:prSet phldrT="[Κείμενο]"/>
      <dgm:spPr/>
      <dgm:t>
        <a:bodyPr/>
        <a:lstStyle/>
        <a:p>
          <a:r>
            <a:rPr lang="en-US" b="1" dirty="0" smtClean="0">
              <a:latin typeface="Calibri" panose="020F0502020204030204"/>
              <a:ea typeface="+mn-ea"/>
              <a:cs typeface="+mn-cs"/>
            </a:rPr>
            <a:t>66.010</a:t>
          </a:r>
          <a:r>
            <a:rPr lang="el-GR" b="1" dirty="0" smtClean="0">
              <a:latin typeface="Calibri" panose="020F0502020204030204"/>
              <a:ea typeface="+mn-ea"/>
              <a:cs typeface="+mn-cs"/>
            </a:rPr>
            <a:t>  </a:t>
          </a:r>
          <a:endParaRPr lang="el-GR" dirty="0"/>
        </a:p>
      </dgm:t>
    </dgm:pt>
    <dgm:pt modelId="{26D4C00E-9DB9-4920-8D29-65F20A61188F}" type="parTrans" cxnId="{929D74E5-1B2F-4E27-B8CF-8AE5039C9CA8}">
      <dgm:prSet/>
      <dgm:spPr/>
      <dgm:t>
        <a:bodyPr/>
        <a:lstStyle/>
        <a:p>
          <a:endParaRPr lang="el-GR"/>
        </a:p>
      </dgm:t>
    </dgm:pt>
    <dgm:pt modelId="{00C559F7-DF0F-4150-AD11-717B2E191B31}" type="sibTrans" cxnId="{929D74E5-1B2F-4E27-B8CF-8AE5039C9CA8}">
      <dgm:prSet/>
      <dgm:spPr/>
      <dgm:t>
        <a:bodyPr/>
        <a:lstStyle/>
        <a:p>
          <a:endParaRPr lang="el-GR"/>
        </a:p>
      </dgm:t>
    </dgm:pt>
    <dgm:pt modelId="{89627D0D-D094-4C1B-B536-81934CB97AFD}">
      <dgm:prSet phldrT="[Κείμενο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n-US" b="1" dirty="0" smtClean="0"/>
            <a:t>196</a:t>
          </a:r>
          <a:r>
            <a:rPr lang="el-GR" b="1" dirty="0" smtClean="0"/>
            <a:t>.</a:t>
          </a:r>
          <a:r>
            <a:rPr lang="en-US" b="1" dirty="0" smtClean="0"/>
            <a:t>573</a:t>
          </a:r>
          <a:endParaRPr lang="el-GR" b="1" dirty="0" smtClean="0"/>
        </a:p>
        <a:p>
          <a:r>
            <a:rPr lang="el-GR" b="1" dirty="0" smtClean="0"/>
            <a:t>(</a:t>
          </a:r>
          <a:r>
            <a:rPr lang="en-US" b="1" dirty="0" smtClean="0"/>
            <a:t>65</a:t>
          </a:r>
          <a:r>
            <a:rPr lang="el-GR" b="1" dirty="0" smtClean="0"/>
            <a:t>%)</a:t>
          </a:r>
          <a:endParaRPr lang="el-GR" b="1" dirty="0"/>
        </a:p>
      </dgm:t>
    </dgm:pt>
    <dgm:pt modelId="{F3F278CE-F9F5-47FA-863D-8FF2AD44DC61}" type="parTrans" cxnId="{392A0DA3-C0CC-4C63-AF2D-57002FAE89EF}">
      <dgm:prSet/>
      <dgm:spPr/>
      <dgm:t>
        <a:bodyPr/>
        <a:lstStyle/>
        <a:p>
          <a:endParaRPr lang="el-GR"/>
        </a:p>
      </dgm:t>
    </dgm:pt>
    <dgm:pt modelId="{9189D91D-F122-441B-9647-75D2DB5848F3}" type="sibTrans" cxnId="{392A0DA3-C0CC-4C63-AF2D-57002FAE89EF}">
      <dgm:prSet/>
      <dgm:spPr/>
      <dgm:t>
        <a:bodyPr/>
        <a:lstStyle/>
        <a:p>
          <a:endParaRPr lang="el-GR"/>
        </a:p>
      </dgm:t>
    </dgm:pt>
    <dgm:pt modelId="{1210A2A2-C6F6-4766-86CE-9E72EC36EB24}">
      <dgm:prSet phldrT="[Κείμενο]"/>
      <dgm:spPr/>
      <dgm:t>
        <a:bodyPr/>
        <a:lstStyle/>
        <a:p>
          <a:r>
            <a:rPr lang="en-US" b="1" dirty="0" smtClean="0"/>
            <a:t>1.703</a:t>
          </a:r>
          <a:endParaRPr lang="el-GR" b="1" dirty="0"/>
        </a:p>
      </dgm:t>
    </dgm:pt>
    <dgm:pt modelId="{6D1E4ECC-0EF2-4DDD-8E16-FD9EF0DAA118}" type="parTrans" cxnId="{42B6169E-C33D-4DF8-8B19-14E33BE66079}">
      <dgm:prSet/>
      <dgm:spPr/>
      <dgm:t>
        <a:bodyPr/>
        <a:lstStyle/>
        <a:p>
          <a:endParaRPr lang="el-GR"/>
        </a:p>
      </dgm:t>
    </dgm:pt>
    <dgm:pt modelId="{5AC99656-2B89-481A-AB65-EC3F5935ABF5}" type="sibTrans" cxnId="{42B6169E-C33D-4DF8-8B19-14E33BE66079}">
      <dgm:prSet/>
      <dgm:spPr/>
      <dgm:t>
        <a:bodyPr/>
        <a:lstStyle/>
        <a:p>
          <a:endParaRPr lang="el-GR"/>
        </a:p>
      </dgm:t>
    </dgm:pt>
    <dgm:pt modelId="{86F745AB-D2C6-4B68-82A0-00AA8CFA2000}">
      <dgm:prSet phldrT="[Κείμενο]"/>
      <dgm:spPr>
        <a:solidFill>
          <a:schemeClr val="bg2">
            <a:lumMod val="75000"/>
          </a:schemeClr>
        </a:solidFill>
      </dgm:spPr>
      <dgm:t>
        <a:bodyPr/>
        <a:lstStyle/>
        <a:p>
          <a:r>
            <a:rPr lang="en-US" b="1" dirty="0" smtClean="0"/>
            <a:t>75</a:t>
          </a:r>
          <a:r>
            <a:rPr lang="el-GR" b="1" dirty="0" smtClean="0"/>
            <a:t>.</a:t>
          </a:r>
          <a:r>
            <a:rPr lang="en-US" b="1" dirty="0" smtClean="0"/>
            <a:t>693</a:t>
          </a:r>
          <a:endParaRPr lang="el-GR" b="1" dirty="0"/>
        </a:p>
      </dgm:t>
    </dgm:pt>
    <dgm:pt modelId="{AEA5DFCE-A355-40D1-B4EC-5C2C1F556335}" type="parTrans" cxnId="{6E028CF0-7AB9-4344-A62B-C6E91C5C1DB0}">
      <dgm:prSet/>
      <dgm:spPr/>
      <dgm:t>
        <a:bodyPr/>
        <a:lstStyle/>
        <a:p>
          <a:endParaRPr lang="el-GR"/>
        </a:p>
      </dgm:t>
    </dgm:pt>
    <dgm:pt modelId="{B66C0663-5ABF-413B-A48F-BD912106BC2A}" type="sibTrans" cxnId="{6E028CF0-7AB9-4344-A62B-C6E91C5C1DB0}">
      <dgm:prSet/>
      <dgm:spPr/>
      <dgm:t>
        <a:bodyPr/>
        <a:lstStyle/>
        <a:p>
          <a:endParaRPr lang="el-GR"/>
        </a:p>
      </dgm:t>
    </dgm:pt>
    <dgm:pt modelId="{670B754E-C896-4088-B04C-84F730F65D37}" type="pres">
      <dgm:prSet presAssocID="{F4E5DEB1-F32D-42B2-B82F-BAA4139BADD7}" presName="linearFlow" presStyleCnt="0">
        <dgm:presLayoutVars>
          <dgm:dir/>
          <dgm:resizeHandles val="exact"/>
        </dgm:presLayoutVars>
      </dgm:prSet>
      <dgm:spPr/>
    </dgm:pt>
    <dgm:pt modelId="{13DFEB32-BEAA-43D4-8420-832402BA4A34}" type="pres">
      <dgm:prSet presAssocID="{0B1EAAB9-2035-432F-8648-8262700522E9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3CF2E5AE-1D0C-4A77-9682-35C0EAA9275B}" type="pres">
      <dgm:prSet presAssocID="{ABA10E6C-9171-4A6F-98EA-299440B00DAD}" presName="spacerL" presStyleCnt="0"/>
      <dgm:spPr/>
    </dgm:pt>
    <dgm:pt modelId="{D3F546A5-5171-4E8A-8EAE-B258473985BC}" type="pres">
      <dgm:prSet presAssocID="{ABA10E6C-9171-4A6F-98EA-299440B00DAD}" presName="sibTrans" presStyleLbl="sibTrans2D1" presStyleIdx="0" presStyleCnt="4"/>
      <dgm:spPr/>
      <dgm:t>
        <a:bodyPr/>
        <a:lstStyle/>
        <a:p>
          <a:endParaRPr lang="el-GR"/>
        </a:p>
      </dgm:t>
    </dgm:pt>
    <dgm:pt modelId="{8DB036C4-F3FC-4780-B6F8-EF9CC4AEAFAA}" type="pres">
      <dgm:prSet presAssocID="{ABA10E6C-9171-4A6F-98EA-299440B00DAD}" presName="spacerR" presStyleCnt="0"/>
      <dgm:spPr/>
    </dgm:pt>
    <dgm:pt modelId="{4A0A71D1-E3BA-4D98-9A49-5CD008C198C4}" type="pres">
      <dgm:prSet presAssocID="{1AAAF98C-B376-48DD-B32C-09051C3870C6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2B51B7A0-8623-41AE-BFC8-768DD75345FA}" type="pres">
      <dgm:prSet presAssocID="{00C559F7-DF0F-4150-AD11-717B2E191B31}" presName="spacerL" presStyleCnt="0"/>
      <dgm:spPr/>
    </dgm:pt>
    <dgm:pt modelId="{FC545151-7CA4-4760-B41B-DC70C9952FFD}" type="pres">
      <dgm:prSet presAssocID="{00C559F7-DF0F-4150-AD11-717B2E191B31}" presName="sibTrans" presStyleLbl="sibTrans2D1" presStyleIdx="1" presStyleCnt="4"/>
      <dgm:spPr/>
      <dgm:t>
        <a:bodyPr/>
        <a:lstStyle/>
        <a:p>
          <a:endParaRPr lang="el-GR"/>
        </a:p>
      </dgm:t>
    </dgm:pt>
    <dgm:pt modelId="{565E511C-3603-4E16-BA14-5A9C9C5EAF48}" type="pres">
      <dgm:prSet presAssocID="{00C559F7-DF0F-4150-AD11-717B2E191B31}" presName="spacerR" presStyleCnt="0"/>
      <dgm:spPr/>
    </dgm:pt>
    <dgm:pt modelId="{9F29C26A-9E9D-4611-902F-DD75C0F7DACA}" type="pres">
      <dgm:prSet presAssocID="{1210A2A2-C6F6-4766-86CE-9E72EC36EB24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AB0EF22A-1038-4B3E-9D66-C039167674F3}" type="pres">
      <dgm:prSet presAssocID="{5AC99656-2B89-481A-AB65-EC3F5935ABF5}" presName="spacerL" presStyleCnt="0"/>
      <dgm:spPr/>
    </dgm:pt>
    <dgm:pt modelId="{480780DE-7FAD-4527-8675-05E641449FE1}" type="pres">
      <dgm:prSet presAssocID="{5AC99656-2B89-481A-AB65-EC3F5935ABF5}" presName="sibTrans" presStyleLbl="sibTrans2D1" presStyleIdx="2" presStyleCnt="4"/>
      <dgm:spPr/>
      <dgm:t>
        <a:bodyPr/>
        <a:lstStyle/>
        <a:p>
          <a:endParaRPr lang="el-GR"/>
        </a:p>
      </dgm:t>
    </dgm:pt>
    <dgm:pt modelId="{8A3D64DE-44C1-4F96-BB9A-44CCA16F9292}" type="pres">
      <dgm:prSet presAssocID="{5AC99656-2B89-481A-AB65-EC3F5935ABF5}" presName="spacerR" presStyleCnt="0"/>
      <dgm:spPr/>
    </dgm:pt>
    <dgm:pt modelId="{FCD60A63-329F-4616-ACF3-21958455DDB8}" type="pres">
      <dgm:prSet presAssocID="{86F745AB-D2C6-4B68-82A0-00AA8CFA2000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  <dgm:pt modelId="{CA57A9AC-811D-41B5-BA62-1675C39AD1A5}" type="pres">
      <dgm:prSet presAssocID="{B66C0663-5ABF-413B-A48F-BD912106BC2A}" presName="spacerL" presStyleCnt="0"/>
      <dgm:spPr/>
    </dgm:pt>
    <dgm:pt modelId="{F6EF7D04-C3C9-4740-BF2D-52E8FD05D7E2}" type="pres">
      <dgm:prSet presAssocID="{B66C0663-5ABF-413B-A48F-BD912106BC2A}" presName="sibTrans" presStyleLbl="sibTrans2D1" presStyleIdx="3" presStyleCnt="4"/>
      <dgm:spPr/>
      <dgm:t>
        <a:bodyPr/>
        <a:lstStyle/>
        <a:p>
          <a:endParaRPr lang="el-GR"/>
        </a:p>
      </dgm:t>
    </dgm:pt>
    <dgm:pt modelId="{4613585F-B1B0-45A9-89F7-2F279129476F}" type="pres">
      <dgm:prSet presAssocID="{B66C0663-5ABF-413B-A48F-BD912106BC2A}" presName="spacerR" presStyleCnt="0"/>
      <dgm:spPr/>
    </dgm:pt>
    <dgm:pt modelId="{03FA384B-8606-446F-B863-7C9891326A78}" type="pres">
      <dgm:prSet presAssocID="{89627D0D-D094-4C1B-B536-81934CB97AFD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l-GR"/>
        </a:p>
      </dgm:t>
    </dgm:pt>
  </dgm:ptLst>
  <dgm:cxnLst>
    <dgm:cxn modelId="{0BAF29A0-B06C-4C2D-8F31-E2D415FAF6CA}" type="presOf" srcId="{00C559F7-DF0F-4150-AD11-717B2E191B31}" destId="{FC545151-7CA4-4760-B41B-DC70C9952FFD}" srcOrd="0" destOrd="0" presId="urn:microsoft.com/office/officeart/2005/8/layout/equation1"/>
    <dgm:cxn modelId="{34AE40C2-4AB9-4F4A-9DC7-E0BF8DFA1CC7}" type="presOf" srcId="{86F745AB-D2C6-4B68-82A0-00AA8CFA2000}" destId="{FCD60A63-329F-4616-ACF3-21958455DDB8}" srcOrd="0" destOrd="0" presId="urn:microsoft.com/office/officeart/2005/8/layout/equation1"/>
    <dgm:cxn modelId="{815884F1-F9A6-4A90-964B-98F56A8DDC9C}" type="presOf" srcId="{1210A2A2-C6F6-4766-86CE-9E72EC36EB24}" destId="{9F29C26A-9E9D-4611-902F-DD75C0F7DACA}" srcOrd="0" destOrd="0" presId="urn:microsoft.com/office/officeart/2005/8/layout/equation1"/>
    <dgm:cxn modelId="{A16D61EC-1AF8-403B-AE59-D6D6F8D1FB53}" type="presOf" srcId="{B66C0663-5ABF-413B-A48F-BD912106BC2A}" destId="{F6EF7D04-C3C9-4740-BF2D-52E8FD05D7E2}" srcOrd="0" destOrd="0" presId="urn:microsoft.com/office/officeart/2005/8/layout/equation1"/>
    <dgm:cxn modelId="{9C9BF9DF-859F-4B7A-BDBD-72BB01ADE0A5}" type="presOf" srcId="{5AC99656-2B89-481A-AB65-EC3F5935ABF5}" destId="{480780DE-7FAD-4527-8675-05E641449FE1}" srcOrd="0" destOrd="0" presId="urn:microsoft.com/office/officeart/2005/8/layout/equation1"/>
    <dgm:cxn modelId="{38376636-8AF2-4B72-9739-33885FA928E3}" type="presOf" srcId="{1AAAF98C-B376-48DD-B32C-09051C3870C6}" destId="{4A0A71D1-E3BA-4D98-9A49-5CD008C198C4}" srcOrd="0" destOrd="0" presId="urn:microsoft.com/office/officeart/2005/8/layout/equation1"/>
    <dgm:cxn modelId="{BA9CD194-D51A-45BE-870D-0383F0AC7475}" srcId="{F4E5DEB1-F32D-42B2-B82F-BAA4139BADD7}" destId="{0B1EAAB9-2035-432F-8648-8262700522E9}" srcOrd="0" destOrd="0" parTransId="{09B87D00-31B8-44E2-89D1-9EACEA7E6B95}" sibTransId="{ABA10E6C-9171-4A6F-98EA-299440B00DAD}"/>
    <dgm:cxn modelId="{5307F9BA-050D-44A4-8910-A6B78F702BCF}" type="presOf" srcId="{89627D0D-D094-4C1B-B536-81934CB97AFD}" destId="{03FA384B-8606-446F-B863-7C9891326A78}" srcOrd="0" destOrd="0" presId="urn:microsoft.com/office/officeart/2005/8/layout/equation1"/>
    <dgm:cxn modelId="{929D74E5-1B2F-4E27-B8CF-8AE5039C9CA8}" srcId="{F4E5DEB1-F32D-42B2-B82F-BAA4139BADD7}" destId="{1AAAF98C-B376-48DD-B32C-09051C3870C6}" srcOrd="1" destOrd="0" parTransId="{26D4C00E-9DB9-4920-8D29-65F20A61188F}" sibTransId="{00C559F7-DF0F-4150-AD11-717B2E191B31}"/>
    <dgm:cxn modelId="{6E028CF0-7AB9-4344-A62B-C6E91C5C1DB0}" srcId="{F4E5DEB1-F32D-42B2-B82F-BAA4139BADD7}" destId="{86F745AB-D2C6-4B68-82A0-00AA8CFA2000}" srcOrd="3" destOrd="0" parTransId="{AEA5DFCE-A355-40D1-B4EC-5C2C1F556335}" sibTransId="{B66C0663-5ABF-413B-A48F-BD912106BC2A}"/>
    <dgm:cxn modelId="{392A0DA3-C0CC-4C63-AF2D-57002FAE89EF}" srcId="{F4E5DEB1-F32D-42B2-B82F-BAA4139BADD7}" destId="{89627D0D-D094-4C1B-B536-81934CB97AFD}" srcOrd="4" destOrd="0" parTransId="{F3F278CE-F9F5-47FA-863D-8FF2AD44DC61}" sibTransId="{9189D91D-F122-441B-9647-75D2DB5848F3}"/>
    <dgm:cxn modelId="{3D1E4100-19DA-4491-A3FB-05311910DDA8}" type="presOf" srcId="{0B1EAAB9-2035-432F-8648-8262700522E9}" destId="{13DFEB32-BEAA-43D4-8420-832402BA4A34}" srcOrd="0" destOrd="0" presId="urn:microsoft.com/office/officeart/2005/8/layout/equation1"/>
    <dgm:cxn modelId="{42B6169E-C33D-4DF8-8B19-14E33BE66079}" srcId="{F4E5DEB1-F32D-42B2-B82F-BAA4139BADD7}" destId="{1210A2A2-C6F6-4766-86CE-9E72EC36EB24}" srcOrd="2" destOrd="0" parTransId="{6D1E4ECC-0EF2-4DDD-8E16-FD9EF0DAA118}" sibTransId="{5AC99656-2B89-481A-AB65-EC3F5935ABF5}"/>
    <dgm:cxn modelId="{5019C8A0-0D02-4FFF-8147-FABAEF03630B}" type="presOf" srcId="{ABA10E6C-9171-4A6F-98EA-299440B00DAD}" destId="{D3F546A5-5171-4E8A-8EAE-B258473985BC}" srcOrd="0" destOrd="0" presId="urn:microsoft.com/office/officeart/2005/8/layout/equation1"/>
    <dgm:cxn modelId="{F3E20262-B2B6-45BF-B581-6F46A4CC1841}" type="presOf" srcId="{F4E5DEB1-F32D-42B2-B82F-BAA4139BADD7}" destId="{670B754E-C896-4088-B04C-84F730F65D37}" srcOrd="0" destOrd="0" presId="urn:microsoft.com/office/officeart/2005/8/layout/equation1"/>
    <dgm:cxn modelId="{60EFD231-9007-4D76-8897-FB24BFA0A378}" type="presParOf" srcId="{670B754E-C896-4088-B04C-84F730F65D37}" destId="{13DFEB32-BEAA-43D4-8420-832402BA4A34}" srcOrd="0" destOrd="0" presId="urn:microsoft.com/office/officeart/2005/8/layout/equation1"/>
    <dgm:cxn modelId="{A21AA406-6AAC-4CBF-B6FD-D171A7C963FE}" type="presParOf" srcId="{670B754E-C896-4088-B04C-84F730F65D37}" destId="{3CF2E5AE-1D0C-4A77-9682-35C0EAA9275B}" srcOrd="1" destOrd="0" presId="urn:microsoft.com/office/officeart/2005/8/layout/equation1"/>
    <dgm:cxn modelId="{A190396C-6579-428E-84CF-2C1CFB2898E6}" type="presParOf" srcId="{670B754E-C896-4088-B04C-84F730F65D37}" destId="{D3F546A5-5171-4E8A-8EAE-B258473985BC}" srcOrd="2" destOrd="0" presId="urn:microsoft.com/office/officeart/2005/8/layout/equation1"/>
    <dgm:cxn modelId="{096D0228-6B38-4AB8-9C14-DAFC5D235CF5}" type="presParOf" srcId="{670B754E-C896-4088-B04C-84F730F65D37}" destId="{8DB036C4-F3FC-4780-B6F8-EF9CC4AEAFAA}" srcOrd="3" destOrd="0" presId="urn:microsoft.com/office/officeart/2005/8/layout/equation1"/>
    <dgm:cxn modelId="{6AF2513D-9E7E-4055-A583-C432DA225444}" type="presParOf" srcId="{670B754E-C896-4088-B04C-84F730F65D37}" destId="{4A0A71D1-E3BA-4D98-9A49-5CD008C198C4}" srcOrd="4" destOrd="0" presId="urn:microsoft.com/office/officeart/2005/8/layout/equation1"/>
    <dgm:cxn modelId="{1DC96891-C6B8-4B93-8530-174DF0C890A4}" type="presParOf" srcId="{670B754E-C896-4088-B04C-84F730F65D37}" destId="{2B51B7A0-8623-41AE-BFC8-768DD75345FA}" srcOrd="5" destOrd="0" presId="urn:microsoft.com/office/officeart/2005/8/layout/equation1"/>
    <dgm:cxn modelId="{4BA03791-936D-4DA4-9BC2-C5E898BC8356}" type="presParOf" srcId="{670B754E-C896-4088-B04C-84F730F65D37}" destId="{FC545151-7CA4-4760-B41B-DC70C9952FFD}" srcOrd="6" destOrd="0" presId="urn:microsoft.com/office/officeart/2005/8/layout/equation1"/>
    <dgm:cxn modelId="{0E84DB43-FCC0-49E7-918A-899EAADBBDC2}" type="presParOf" srcId="{670B754E-C896-4088-B04C-84F730F65D37}" destId="{565E511C-3603-4E16-BA14-5A9C9C5EAF48}" srcOrd="7" destOrd="0" presId="urn:microsoft.com/office/officeart/2005/8/layout/equation1"/>
    <dgm:cxn modelId="{3C24F468-51FA-43ED-8EDC-43DE2014765E}" type="presParOf" srcId="{670B754E-C896-4088-B04C-84F730F65D37}" destId="{9F29C26A-9E9D-4611-902F-DD75C0F7DACA}" srcOrd="8" destOrd="0" presId="urn:microsoft.com/office/officeart/2005/8/layout/equation1"/>
    <dgm:cxn modelId="{7E648EF4-4572-44A8-959C-1599553FCCBD}" type="presParOf" srcId="{670B754E-C896-4088-B04C-84F730F65D37}" destId="{AB0EF22A-1038-4B3E-9D66-C039167674F3}" srcOrd="9" destOrd="0" presId="urn:microsoft.com/office/officeart/2005/8/layout/equation1"/>
    <dgm:cxn modelId="{2BD09311-597D-4DD3-9C0B-FA1DAF8A89FF}" type="presParOf" srcId="{670B754E-C896-4088-B04C-84F730F65D37}" destId="{480780DE-7FAD-4527-8675-05E641449FE1}" srcOrd="10" destOrd="0" presId="urn:microsoft.com/office/officeart/2005/8/layout/equation1"/>
    <dgm:cxn modelId="{C7FA7CAF-615F-40E0-971B-EC30A841C8B2}" type="presParOf" srcId="{670B754E-C896-4088-B04C-84F730F65D37}" destId="{8A3D64DE-44C1-4F96-BB9A-44CCA16F9292}" srcOrd="11" destOrd="0" presId="urn:microsoft.com/office/officeart/2005/8/layout/equation1"/>
    <dgm:cxn modelId="{85945688-14B9-4FED-B8E8-705370E3FC3F}" type="presParOf" srcId="{670B754E-C896-4088-B04C-84F730F65D37}" destId="{FCD60A63-329F-4616-ACF3-21958455DDB8}" srcOrd="12" destOrd="0" presId="urn:microsoft.com/office/officeart/2005/8/layout/equation1"/>
    <dgm:cxn modelId="{834DF83C-D3B5-46AD-93D0-1867CD05DC13}" type="presParOf" srcId="{670B754E-C896-4088-B04C-84F730F65D37}" destId="{CA57A9AC-811D-41B5-BA62-1675C39AD1A5}" srcOrd="13" destOrd="0" presId="urn:microsoft.com/office/officeart/2005/8/layout/equation1"/>
    <dgm:cxn modelId="{393A130B-6237-4F1A-88B0-88287D858411}" type="presParOf" srcId="{670B754E-C896-4088-B04C-84F730F65D37}" destId="{F6EF7D04-C3C9-4740-BF2D-52E8FD05D7E2}" srcOrd="14" destOrd="0" presId="urn:microsoft.com/office/officeart/2005/8/layout/equation1"/>
    <dgm:cxn modelId="{47205FA4-F920-4CC8-9E2C-8CDD3E1C70AF}" type="presParOf" srcId="{670B754E-C896-4088-B04C-84F730F65D37}" destId="{4613585F-B1B0-45A9-89F7-2F279129476F}" srcOrd="15" destOrd="0" presId="urn:microsoft.com/office/officeart/2005/8/layout/equation1"/>
    <dgm:cxn modelId="{2D095016-063A-42AC-B872-CBA245E95066}" type="presParOf" srcId="{670B754E-C896-4088-B04C-84F730F65D37}" destId="{03FA384B-8606-446F-B863-7C9891326A78}" srcOrd="16" destOrd="0" presId="urn:microsoft.com/office/officeart/2005/8/layout/equation1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equation1">
  <dgm:title val=""/>
  <dgm:desc val=""/>
  <dgm:catLst>
    <dgm:cat type="relationship" pri="17000"/>
    <dgm:cat type="process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choose name="Name0">
      <dgm:if name="Name1" func="var" arg="dir" op="equ" val="norm">
        <dgm:alg type="lin">
          <dgm:param type="fallback" val="2D"/>
        </dgm:alg>
      </dgm:if>
      <dgm:else name="Name2">
        <dgm:alg type="lin">
          <dgm:param type="linDir" val="fromR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fact="0.58"/>
      <dgm:constr type="primFontSz" for="ch" ptType="node" op="equ" val="65"/>
      <dgm:constr type="primFontSz" for="ch" ptType="sibTrans" op="equ" val="55"/>
      <dgm:constr type="primFontSz" for="ch" ptType="sibTrans" refType="primFontSz" refFor="ch" refPtType="node" op="lte" fact="0.8"/>
      <dgm:constr type="w" for="ch" forName="spacerL" refType="w" refFor="ch" refPtType="sibTrans" fact="0.14"/>
      <dgm:constr type="w" for="ch" forName="spacerR" refType="w" refFor="ch" refPtType="sibTrans" fact="0.14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pacerL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ibTrans">
          <dgm:alg type="tx"/>
          <dgm:choose name="Name3">
            <dgm:if name="Name4" axis="followSib" ptType="sibTrans" func="cnt" op="equ" val="0">
              <dgm:shape xmlns:r="http://schemas.openxmlformats.org/officeDocument/2006/relationships" type="mathEqual" r:blip="">
                <dgm:adjLst/>
              </dgm:shape>
            </dgm:if>
            <dgm:else name="Name5">
              <dgm:shape xmlns:r="http://schemas.openxmlformats.org/officeDocument/2006/relationships" type="mathPlus" r:blip="">
                <dgm:adjLst/>
              </dgm:shape>
            </dgm:else>
          </dgm:choose>
          <dgm:presOf axis="self"/>
          <dgm:constrLst>
            <dgm:constr type="h" refType="w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  <dgm:layoutNode name="spacerR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#3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#4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3FA71DB-41B1-4E96-93EB-C6514D914942}" type="datetimeFigureOut">
              <a:rPr lang="en-US"/>
              <a:pPr>
                <a:defRPr/>
              </a:pPr>
              <a:t>5/1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A9491161-C1F5-4F26-89DB-8151E8D0A1C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79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20688" y="1241425"/>
            <a:ext cx="5956300" cy="33496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979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l-GR" smtClean="0"/>
          </a:p>
        </p:txBody>
      </p:sp>
      <p:sp>
        <p:nvSpPr>
          <p:cNvPr id="28979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A8DE42D-5256-4AD8-8FA4-AEFA6C9A7C70}" type="slidenum">
              <a:rPr lang="en-US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817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20688" y="1241425"/>
            <a:ext cx="5956300" cy="33496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0818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smtClean="0"/>
          </a:p>
          <a:p>
            <a:pPr>
              <a:spcBef>
                <a:spcPct val="0"/>
              </a:spcBef>
            </a:pPr>
            <a:endParaRPr lang="el-GR" smtClean="0"/>
          </a:p>
        </p:txBody>
      </p:sp>
      <p:sp>
        <p:nvSpPr>
          <p:cNvPr id="29081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D9D80F0-F81F-48B1-B38D-BDCD0858D4EF}" type="slidenum">
              <a:rPr lang="en-US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4849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420688" y="1241425"/>
            <a:ext cx="5956300" cy="33496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485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l-GR" smtClean="0"/>
          </a:p>
        </p:txBody>
      </p:sp>
      <p:sp>
        <p:nvSpPr>
          <p:cNvPr id="33485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99E63CB-FD9F-4D6D-9AD2-50CDD298B61F}" type="slidenum">
              <a:rPr lang="en-US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oleObject" Target="../embeddings/oleObject3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7.xml"/><Relationship Id="rId7" Type="http://schemas.openxmlformats.org/officeDocument/2006/relationships/oleObject" Target="../embeddings/oleObject18.bin"/><Relationship Id="rId2" Type="http://schemas.openxmlformats.org/officeDocument/2006/relationships/tags" Target="../tags/tag36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oleObject" Target="../embeddings/oleObject19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1.xml"/><Relationship Id="rId7" Type="http://schemas.openxmlformats.org/officeDocument/2006/relationships/oleObject" Target="../embeddings/oleObject20.bin"/><Relationship Id="rId2" Type="http://schemas.openxmlformats.org/officeDocument/2006/relationships/tags" Target="../tags/tag40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3.xml"/><Relationship Id="rId4" Type="http://schemas.openxmlformats.org/officeDocument/2006/relationships/tags" Target="../tags/tag42.xml"/><Relationship Id="rId9" Type="http://schemas.openxmlformats.org/officeDocument/2006/relationships/oleObject" Target="../embeddings/oleObject21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5.xml"/><Relationship Id="rId7" Type="http://schemas.openxmlformats.org/officeDocument/2006/relationships/oleObject" Target="../embeddings/oleObject22.bin"/><Relationship Id="rId2" Type="http://schemas.openxmlformats.org/officeDocument/2006/relationships/tags" Target="../tags/tag44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oleObject" Target="../embeddings/oleObject2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9.xml"/><Relationship Id="rId7" Type="http://schemas.openxmlformats.org/officeDocument/2006/relationships/oleObject" Target="../embeddings/oleObject24.bin"/><Relationship Id="rId2" Type="http://schemas.openxmlformats.org/officeDocument/2006/relationships/tags" Target="../tags/tag48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9" Type="http://schemas.openxmlformats.org/officeDocument/2006/relationships/oleObject" Target="../embeddings/oleObject2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.xml"/><Relationship Id="rId7" Type="http://schemas.openxmlformats.org/officeDocument/2006/relationships/oleObject" Target="../embeddings/oleObject4.bin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3.xml"/><Relationship Id="rId7" Type="http://schemas.openxmlformats.org/officeDocument/2006/relationships/oleObject" Target="../embeddings/oleObject6.bin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oleObject" Target="../embeddings/oleObject7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7.xml"/><Relationship Id="rId7" Type="http://schemas.openxmlformats.org/officeDocument/2006/relationships/oleObject" Target="../embeddings/oleObject8.bin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oleObject" Target="../embeddings/oleObject9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.xml"/><Relationship Id="rId7" Type="http://schemas.openxmlformats.org/officeDocument/2006/relationships/oleObject" Target="../embeddings/oleObject10.bin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Relationship Id="rId9" Type="http://schemas.openxmlformats.org/officeDocument/2006/relationships/oleObject" Target="../embeddings/oleObject11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5.xml"/><Relationship Id="rId7" Type="http://schemas.openxmlformats.org/officeDocument/2006/relationships/oleObject" Target="../embeddings/oleObject12.bin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oleObject" Target="../embeddings/oleObject13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9.xml"/><Relationship Id="rId7" Type="http://schemas.openxmlformats.org/officeDocument/2006/relationships/oleObject" Target="../embeddings/oleObject14.bin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oleObject" Target="../embeddings/oleObject1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3.xml"/><Relationship Id="rId7" Type="http://schemas.openxmlformats.org/officeDocument/2006/relationships/oleObject" Target="../embeddings/oleObject16.bin"/><Relationship Id="rId2" Type="http://schemas.openxmlformats.org/officeDocument/2006/relationships/tags" Target="../tags/tag32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oleObject" Target="../embeddings/oleObject1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68641" name="think-cell Slide" r:id="rId7" imgW="360" imgH="360" progId="">
              <p:embed/>
            </p:oleObj>
          </a:graphicData>
        </a:graphic>
      </p:graphicFrame>
      <p:sp>
        <p:nvSpPr>
          <p:cNvPr id="5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ight Triangle 7"/>
          <p:cNvSpPr/>
          <p:nvPr userDrawn="1"/>
        </p:nvSpPr>
        <p:spPr>
          <a:xfrm>
            <a:off x="0" y="5903913"/>
            <a:ext cx="985838" cy="954087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Helvetica Neue"/>
            </a:endParaRPr>
          </a:p>
        </p:txBody>
      </p:sp>
      <p:pic>
        <p:nvPicPr>
          <p:cNvPr id="7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107950" y="6373813"/>
            <a:ext cx="3762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68642" name="think-cell Slide" r:id="rId9" imgW="360" imgH="360" progId="">
              <p:embed/>
            </p:oleObj>
          </a:graphicData>
        </a:graphic>
      </p:graphicFrame>
      <p:sp>
        <p:nvSpPr>
          <p:cNvPr id="9" name="Rectangle 3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ight Triangle 6"/>
          <p:cNvSpPr/>
          <p:nvPr userDrawn="1"/>
        </p:nvSpPr>
        <p:spPr>
          <a:xfrm>
            <a:off x="0" y="0"/>
            <a:ext cx="11068050" cy="6858000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1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1158875" y="4257675"/>
            <a:ext cx="1831975" cy="1795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86200" y="0"/>
            <a:ext cx="8096250" cy="2387600"/>
          </a:xfrm>
        </p:spPr>
        <p:txBody>
          <a:bodyPr anchor="b"/>
          <a:lstStyle>
            <a:lvl1pPr algn="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81700" y="2601119"/>
            <a:ext cx="6000750" cy="1655762"/>
          </a:xfrm>
        </p:spPr>
        <p:txBody>
          <a:bodyPr/>
          <a:lstStyle>
            <a:lvl1pPr marL="0" indent="0" algn="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6833" name="think-cell Slide" r:id="rId7" imgW="360" imgH="360" progId="">
              <p:embed/>
            </p:oleObj>
          </a:graphicData>
        </a:graphic>
      </p:graphicFrame>
      <p:sp>
        <p:nvSpPr>
          <p:cNvPr id="6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7"/>
          <p:cNvSpPr/>
          <p:nvPr userDrawn="1"/>
        </p:nvSpPr>
        <p:spPr>
          <a:xfrm>
            <a:off x="0" y="5903913"/>
            <a:ext cx="985838" cy="954087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Helvetica Neue"/>
            </a:endParaRPr>
          </a:p>
        </p:txBody>
      </p:sp>
      <p:pic>
        <p:nvPicPr>
          <p:cNvPr id="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107950" y="6373813"/>
            <a:ext cx="3762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6834" name="think-cell Slide" r:id="rId9" imgW="360" imgH="360" progId="">
              <p:embed/>
            </p:oleObj>
          </a:graphicData>
        </a:graphic>
      </p:graphicFrame>
      <p:sp>
        <p:nvSpPr>
          <p:cNvPr id="10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>
                <a:latin typeface="Helvetica Neue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Helvetica Neue"/>
              </a:defRPr>
            </a:lvl1pPr>
          </a:lstStyle>
          <a:p>
            <a:pPr>
              <a:defRPr/>
            </a:pPr>
            <a:fld id="{66BF39B0-7AB6-4EA7-B1DF-C019FA4F961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7857" name="think-cell Slide" r:id="rId7" imgW="360" imgH="360" progId="">
              <p:embed/>
            </p:oleObj>
          </a:graphicData>
        </a:graphic>
      </p:graphicFrame>
      <p:sp>
        <p:nvSpPr>
          <p:cNvPr id="5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ight Triangle 7"/>
          <p:cNvSpPr/>
          <p:nvPr userDrawn="1"/>
        </p:nvSpPr>
        <p:spPr>
          <a:xfrm>
            <a:off x="0" y="5903913"/>
            <a:ext cx="985838" cy="954087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Helvetica Neue"/>
            </a:endParaRPr>
          </a:p>
        </p:txBody>
      </p:sp>
      <p:pic>
        <p:nvPicPr>
          <p:cNvPr id="7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107950" y="6373813"/>
            <a:ext cx="3762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7858" name="think-cell Slide" r:id="rId9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Helvetica Neue" panose="020B0604020202020204"/>
              </a:defRPr>
            </a:lvl1pPr>
          </a:lstStyle>
          <a:p>
            <a:pPr>
              <a:defRPr/>
            </a:pPr>
            <a:fld id="{EA6BF608-4F9C-4CE5-B891-D0C02816139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8881" name="think-cell Slide" r:id="rId7" imgW="360" imgH="360" progId="">
              <p:embed/>
            </p:oleObj>
          </a:graphicData>
        </a:graphic>
      </p:graphicFrame>
      <p:sp>
        <p:nvSpPr>
          <p:cNvPr id="5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ight Triangle 7"/>
          <p:cNvSpPr/>
          <p:nvPr userDrawn="1"/>
        </p:nvSpPr>
        <p:spPr>
          <a:xfrm>
            <a:off x="0" y="5903913"/>
            <a:ext cx="985838" cy="954087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Helvetica Neue"/>
            </a:endParaRPr>
          </a:p>
        </p:txBody>
      </p:sp>
      <p:pic>
        <p:nvPicPr>
          <p:cNvPr id="7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107950" y="6373813"/>
            <a:ext cx="3762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8882" name="think-cell Slide" r:id="rId9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Helvetica Neue"/>
              </a:defRPr>
            </a:lvl1pPr>
          </a:lstStyle>
          <a:p>
            <a:pPr>
              <a:defRPr/>
            </a:pPr>
            <a:fld id="{3510E8EB-9A94-462A-AED5-9403EA52BD3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9905" name="think-cell Slide" r:id="rId7" imgW="360" imgH="360" progId="">
              <p:embed/>
            </p:oleObj>
          </a:graphicData>
        </a:graphic>
      </p:graphicFrame>
      <p:sp>
        <p:nvSpPr>
          <p:cNvPr id="5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ight Triangle 7"/>
          <p:cNvSpPr/>
          <p:nvPr userDrawn="1"/>
        </p:nvSpPr>
        <p:spPr>
          <a:xfrm>
            <a:off x="0" y="5903913"/>
            <a:ext cx="985838" cy="954087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Helvetica Neue"/>
            </a:endParaRPr>
          </a:p>
        </p:txBody>
      </p:sp>
      <p:pic>
        <p:nvPicPr>
          <p:cNvPr id="7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107950" y="6373813"/>
            <a:ext cx="3762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9906" name="think-cell Slide" r:id="rId9" imgW="360" imgH="360" progId="">
              <p:embed/>
            </p:oleObj>
          </a:graphicData>
        </a:graphic>
      </p:graphicFrame>
      <p:sp>
        <p:nvSpPr>
          <p:cNvPr id="9" name="Rectangle 3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ight Triangle 6"/>
          <p:cNvSpPr/>
          <p:nvPr userDrawn="1"/>
        </p:nvSpPr>
        <p:spPr>
          <a:xfrm rot="10800000">
            <a:off x="1123950" y="0"/>
            <a:ext cx="11068050" cy="6858000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1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8474075" y="1268413"/>
            <a:ext cx="1831975" cy="1795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7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4672013"/>
            <a:ext cx="2922588" cy="21859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l-GR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" y="431335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857" y="2657588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Agenda 1" type="obj">
  <p:cSld name="Agenda 1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80929" name="think-cell Slide" r:id="rId5" imgW="360" imgH="360" progId="">
              <p:embed/>
            </p:oleObj>
          </a:graphicData>
        </a:graphic>
      </p:graphicFrame>
      <p:sp>
        <p:nvSpPr>
          <p:cNvPr id="5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ight Triangle 7"/>
          <p:cNvSpPr/>
          <p:nvPr userDrawn="1"/>
        </p:nvSpPr>
        <p:spPr>
          <a:xfrm>
            <a:off x="0" y="5903913"/>
            <a:ext cx="985838" cy="954087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Helvetica Neue"/>
            </a:endParaRPr>
          </a:p>
        </p:txBody>
      </p:sp>
      <p:pic>
        <p:nvPicPr>
          <p:cNvPr id="7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07950" y="6373813"/>
            <a:ext cx="3762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Google Shape;32;p5"/>
          <p:cNvSpPr txBox="1">
            <a:spLocks noGrp="1"/>
          </p:cNvSpPr>
          <p:nvPr>
            <p:ph type="body" idx="1"/>
          </p:nvPr>
        </p:nvSpPr>
        <p:spPr>
          <a:xfrm>
            <a:off x="442912" y="2103121"/>
            <a:ext cx="11306001" cy="4073600"/>
          </a:xfrm>
          <a:prstGeom prst="rect">
            <a:avLst/>
          </a:prstGeom>
          <a:noFill/>
          <a:ln>
            <a:noFill/>
          </a:ln>
        </p:spPr>
        <p:txBody>
          <a:bodyPr spcFirstLastPara="1" lIns="0" tIns="0" rIns="0" bIns="0">
            <a:noAutofit/>
          </a:bodyPr>
          <a:lstStyle>
            <a:lvl1pPr marL="403433" lvl="0" indent="-31938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100"/>
              <a:buFont typeface="Georgia"/>
              <a:buAutoNum type="arabicPeriod"/>
              <a:defRPr sz="2800" b="0">
                <a:solidFill>
                  <a:srgbClr val="464646"/>
                </a:solidFill>
              </a:defRPr>
            </a:lvl1pPr>
            <a:lvl2pPr marL="806867" lvl="1" indent="-201717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4"/>
              </a:buClr>
              <a:buSzPts val="1200"/>
              <a:buFont typeface="Georgia"/>
              <a:buNone/>
              <a:defRPr sz="1599">
                <a:solidFill>
                  <a:srgbClr val="464646"/>
                </a:solidFill>
              </a:defRPr>
            </a:lvl2pPr>
            <a:lvl3pPr marL="1210300" lvl="2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3pPr>
            <a:lvl4pPr marL="1613733" lvl="3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–"/>
              <a:defRPr>
                <a:solidFill>
                  <a:srgbClr val="464646"/>
                </a:solidFill>
              </a:defRPr>
            </a:lvl4pPr>
            <a:lvl5pPr marL="2017166" lvl="4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5pPr>
            <a:lvl6pPr marL="2420600" lvl="5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–"/>
              <a:defRPr>
                <a:solidFill>
                  <a:srgbClr val="464646"/>
                </a:solidFill>
              </a:defRPr>
            </a:lvl6pPr>
            <a:lvl7pPr marL="2824033" lvl="6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7pPr>
            <a:lvl8pPr marL="3227466" lvl="7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–"/>
              <a:defRPr>
                <a:solidFill>
                  <a:srgbClr val="464646"/>
                </a:solidFill>
              </a:defRPr>
            </a:lvl8pPr>
            <a:lvl9pPr marL="3630900" lvl="8" indent="-268956" algn="l">
              <a:lnSpc>
                <a:spcPct val="100000"/>
              </a:lnSpc>
              <a:spcBef>
                <a:spcPts val="667"/>
              </a:spcBef>
              <a:spcAft>
                <a:spcPts val="667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9pPr>
          </a:lstStyle>
          <a:p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title"/>
          </p:nvPr>
        </p:nvSpPr>
        <p:spPr>
          <a:xfrm>
            <a:off x="442914" y="432000"/>
            <a:ext cx="11306001" cy="1387200"/>
          </a:xfrm>
          <a:prstGeom prst="rect">
            <a:avLst/>
          </a:prstGeom>
          <a:noFill/>
          <a:ln>
            <a:noFill/>
          </a:ln>
        </p:spPr>
        <p:txBody>
          <a:bodyPr spcFirstLastPara="1" lIns="0" tIns="0" rIns="0" bIns="0" anchor="t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464646"/>
              </a:buClr>
              <a:buSzPts val="2100"/>
              <a:buFont typeface="Georgia"/>
              <a:buNone/>
              <a:defRPr sz="2800">
                <a:solidFill>
                  <a:srgbClr val="46464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8" name="Google Shape;34;p5"/>
          <p:cNvSpPr txBox="1">
            <a:spLocks noGrp="1"/>
          </p:cNvSpPr>
          <p:nvPr>
            <p:ph type="sldNum" idx="10"/>
          </p:nvPr>
        </p:nvSpPr>
        <p:spPr>
          <a:xfrm>
            <a:off x="9983788" y="6492875"/>
            <a:ext cx="1765300" cy="136525"/>
          </a:xfrm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 smtClean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/>
            </a:pPr>
            <a:fld id="{42EF701E-42B4-4A74-B1CA-1CE09CA941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Google Shape;35;p5"/>
          <p:cNvSpPr txBox="1">
            <a:spLocks noGrp="1"/>
          </p:cNvSpPr>
          <p:nvPr>
            <p:ph type="dt" idx="11"/>
          </p:nvPr>
        </p:nvSpPr>
        <p:spPr>
          <a:xfrm>
            <a:off x="9983788" y="6354763"/>
            <a:ext cx="1765300" cy="138112"/>
          </a:xfrm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pPr>
              <a:defRPr/>
            </a:pPr>
            <a:endParaRPr/>
          </a:p>
        </p:txBody>
      </p:sp>
      <p:sp>
        <p:nvSpPr>
          <p:cNvPr id="10" name="Google Shape;36;p5"/>
          <p:cNvSpPr txBox="1">
            <a:spLocks noGrp="1"/>
          </p:cNvSpPr>
          <p:nvPr>
            <p:ph type="ftr" idx="12"/>
          </p:nvPr>
        </p:nvSpPr>
        <p:spPr>
          <a:xfrm>
            <a:off x="442913" y="6354763"/>
            <a:ext cx="5473700" cy="138112"/>
          </a:xfrm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pPr>
              <a:defRPr/>
            </a:pP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69665" name="think-cell Slide" r:id="rId7" imgW="360" imgH="360" progId="">
              <p:embed/>
            </p:oleObj>
          </a:graphicData>
        </a:graphic>
      </p:graphicFrame>
      <p:sp>
        <p:nvSpPr>
          <p:cNvPr id="5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ight Triangle 7"/>
          <p:cNvSpPr/>
          <p:nvPr userDrawn="1"/>
        </p:nvSpPr>
        <p:spPr>
          <a:xfrm>
            <a:off x="0" y="5903913"/>
            <a:ext cx="985838" cy="954087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Helvetica Neue"/>
            </a:endParaRPr>
          </a:p>
        </p:txBody>
      </p:sp>
      <p:pic>
        <p:nvPicPr>
          <p:cNvPr id="7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107950" y="6373813"/>
            <a:ext cx="3762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69666" name="think-cell Slide" r:id="rId9" imgW="360" imgH="360" progId="">
              <p:embed/>
            </p:oleObj>
          </a:graphicData>
        </a:graphic>
      </p:graphicFrame>
      <p:sp>
        <p:nvSpPr>
          <p:cNvPr id="9" name="Rectangle 3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10" name="Rectangle 7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4672013"/>
            <a:ext cx="2922588" cy="21859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l-GR">
              <a:latin typeface="Helvetica Neue"/>
            </a:endParaRPr>
          </a:p>
        </p:txBody>
      </p:sp>
      <p:sp>
        <p:nvSpPr>
          <p:cNvPr id="11" name="Right Triangle 6"/>
          <p:cNvSpPr>
            <a:spLocks noChangeAspect="1"/>
          </p:cNvSpPr>
          <p:nvPr userDrawn="1"/>
        </p:nvSpPr>
        <p:spPr>
          <a:xfrm rot="5400000">
            <a:off x="-1304131" y="1304131"/>
            <a:ext cx="6858000" cy="4249738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2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1003300" y="682625"/>
            <a:ext cx="1054100" cy="1033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18510" y="262171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40977" y="621131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0689" name="think-cell Slide" r:id="rId7" imgW="360" imgH="360" progId="">
              <p:embed/>
            </p:oleObj>
          </a:graphicData>
        </a:graphic>
      </p:graphicFrame>
      <p:sp>
        <p:nvSpPr>
          <p:cNvPr id="5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ight Triangle 7"/>
          <p:cNvSpPr/>
          <p:nvPr userDrawn="1"/>
        </p:nvSpPr>
        <p:spPr>
          <a:xfrm>
            <a:off x="0" y="5903913"/>
            <a:ext cx="985838" cy="954087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Helvetica Neue"/>
            </a:endParaRPr>
          </a:p>
        </p:txBody>
      </p:sp>
      <p:pic>
        <p:nvPicPr>
          <p:cNvPr id="7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107950" y="6373813"/>
            <a:ext cx="3762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0690" name="think-cell Slide" r:id="rId9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Helvetica Neue" panose="020B0604020202020204"/>
              </a:defRPr>
            </a:lvl1pPr>
          </a:lstStyle>
          <a:p>
            <a:pPr>
              <a:defRPr/>
            </a:pPr>
            <a:fld id="{5D3E92B1-0B64-4F75-829A-1CAB9B5EA03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1713" name="think-cell Slide" r:id="rId7" imgW="360" imgH="360" progId="">
              <p:embed/>
            </p:oleObj>
          </a:graphicData>
        </a:graphic>
      </p:graphicFrame>
      <p:sp>
        <p:nvSpPr>
          <p:cNvPr id="5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Right Triangle 7"/>
          <p:cNvSpPr/>
          <p:nvPr userDrawn="1"/>
        </p:nvSpPr>
        <p:spPr>
          <a:xfrm>
            <a:off x="0" y="5903913"/>
            <a:ext cx="985838" cy="954087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Helvetica Neue"/>
            </a:endParaRPr>
          </a:p>
        </p:txBody>
      </p:sp>
      <p:pic>
        <p:nvPicPr>
          <p:cNvPr id="7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107950" y="6373813"/>
            <a:ext cx="3762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1714" name="think-cell Slide" r:id="rId9" imgW="360" imgH="360" progId="">
              <p:embed/>
            </p:oleObj>
          </a:graphicData>
        </a:graphic>
      </p:graphicFrame>
      <p:sp>
        <p:nvSpPr>
          <p:cNvPr id="9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0" cy="2852737"/>
          </a:xfrm>
        </p:spPr>
        <p:txBody>
          <a:bodyPr anchor="b"/>
          <a:lstStyle>
            <a:lvl1pPr>
              <a:defRPr sz="60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Helvetica Neue"/>
              </a:defRPr>
            </a:lvl1pPr>
          </a:lstStyle>
          <a:p>
            <a:pPr>
              <a:defRPr/>
            </a:pPr>
            <a:fld id="{8D9772D3-FDD7-4F98-88D3-97418F69C4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2737" name="think-cell Slide" r:id="rId7" imgW="360" imgH="360" progId="">
              <p:embed/>
            </p:oleObj>
          </a:graphicData>
        </a:graphic>
      </p:graphicFrame>
      <p:sp>
        <p:nvSpPr>
          <p:cNvPr id="6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7"/>
          <p:cNvSpPr/>
          <p:nvPr userDrawn="1"/>
        </p:nvSpPr>
        <p:spPr>
          <a:xfrm>
            <a:off x="0" y="5903913"/>
            <a:ext cx="985838" cy="954087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Helvetica Neue"/>
            </a:endParaRPr>
          </a:p>
        </p:txBody>
      </p:sp>
      <p:pic>
        <p:nvPicPr>
          <p:cNvPr id="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107950" y="6373813"/>
            <a:ext cx="3762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2738" name="think-cell Slide" r:id="rId9" imgW="360" imgH="360" progId="">
              <p:embed/>
            </p:oleObj>
          </a:graphicData>
        </a:graphic>
      </p:graphicFrame>
      <p:sp>
        <p:nvSpPr>
          <p:cNvPr id="10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Helvetica Neue"/>
              </a:defRPr>
            </a:lvl1pPr>
          </a:lstStyle>
          <a:p>
            <a:pPr>
              <a:defRPr/>
            </a:pPr>
            <a:fld id="{0CDB285D-ABD1-4A34-82D3-C1106C8FA3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3761" name="think-cell Slide" r:id="rId7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Right Triangle 7"/>
          <p:cNvSpPr/>
          <p:nvPr userDrawn="1"/>
        </p:nvSpPr>
        <p:spPr>
          <a:xfrm>
            <a:off x="0" y="5903913"/>
            <a:ext cx="985838" cy="954087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Helvetica Neue"/>
            </a:endParaRPr>
          </a:p>
        </p:txBody>
      </p:sp>
      <p:pic>
        <p:nvPicPr>
          <p:cNvPr id="10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107950" y="6373813"/>
            <a:ext cx="3762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3762" name="think-cell Slide" r:id="rId9" imgW="360" imgH="360" progId="">
              <p:embed/>
            </p:oleObj>
          </a:graphicData>
        </a:graphic>
      </p:graphicFrame>
      <p:sp>
        <p:nvSpPr>
          <p:cNvPr id="12" name="Rectangle 9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Helvetica Neue"/>
              </a:defRPr>
            </a:lvl1pPr>
          </a:lstStyle>
          <a:p>
            <a:pPr>
              <a:defRPr/>
            </a:pPr>
            <a:fld id="{2C41FB10-7638-44CE-B4CD-EC77E0C8657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4785" name="think-cell Slide" r:id="rId7" imgW="360" imgH="360" progId="">
              <p:embed/>
            </p:oleObj>
          </a:graphicData>
        </a:graphic>
      </p:graphicFrame>
      <p:sp>
        <p:nvSpPr>
          <p:cNvPr id="4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ight Triangle 7"/>
          <p:cNvSpPr/>
          <p:nvPr userDrawn="1"/>
        </p:nvSpPr>
        <p:spPr>
          <a:xfrm>
            <a:off x="0" y="5903913"/>
            <a:ext cx="985838" cy="954087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Helvetica Neue"/>
            </a:endParaRPr>
          </a:p>
        </p:txBody>
      </p:sp>
      <p:pic>
        <p:nvPicPr>
          <p:cNvPr id="6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107950" y="6373813"/>
            <a:ext cx="3762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4786" name="think-cell Slide" r:id="rId9" imgW="360" imgH="360" progId="">
              <p:embed/>
            </p:oleObj>
          </a:graphicData>
        </a:graphic>
      </p:graphicFrame>
      <p:sp>
        <p:nvSpPr>
          <p:cNvPr id="8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Helvetica Neue"/>
              </a:defRPr>
            </a:lvl1pPr>
          </a:lstStyle>
          <a:p>
            <a:pPr>
              <a:defRPr/>
            </a:pPr>
            <a:fld id="{0663C075-495A-49BA-AFCE-0C8A537DE7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ECE509-416A-4EC4-8F6A-D61685CD044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5809" name="think-cell Slide" r:id="rId7" imgW="360" imgH="360" progId="">
              <p:embed/>
            </p:oleObj>
          </a:graphicData>
        </a:graphic>
      </p:graphicFrame>
      <p:sp>
        <p:nvSpPr>
          <p:cNvPr id="6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7"/>
          <p:cNvSpPr/>
          <p:nvPr userDrawn="1"/>
        </p:nvSpPr>
        <p:spPr>
          <a:xfrm>
            <a:off x="0" y="5903913"/>
            <a:ext cx="985838" cy="954087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Helvetica Neue"/>
            </a:endParaRPr>
          </a:p>
        </p:txBody>
      </p:sp>
      <p:pic>
        <p:nvPicPr>
          <p:cNvPr id="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107950" y="6373813"/>
            <a:ext cx="3762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5810" name="think-cell Slide" r:id="rId9" imgW="360" imgH="360" progId="">
              <p:embed/>
            </p:oleObj>
          </a:graphicData>
        </a:graphic>
      </p:graphicFrame>
      <p:sp>
        <p:nvSpPr>
          <p:cNvPr id="10" name="Rectangle 7" hidden="1">
            <a:extLst>
              <a:ext uri="{FF2B5EF4-FFF2-40B4-BE49-F238E27FC236}"/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>
                <a:latin typeface="Helvetica Neue"/>
              </a:defRPr>
            </a:lvl1pPr>
            <a:lvl2pPr>
              <a:defRPr sz="2800">
                <a:latin typeface="Helvetica Neue"/>
              </a:defRPr>
            </a:lvl2pPr>
            <a:lvl3pPr>
              <a:defRPr sz="2400">
                <a:latin typeface="Helvetica Neue"/>
              </a:defRPr>
            </a:lvl3pPr>
            <a:lvl4pPr>
              <a:defRPr sz="2000">
                <a:latin typeface="Helvetica Neue"/>
              </a:defRPr>
            </a:lvl4pPr>
            <a:lvl5pPr>
              <a:defRPr sz="2000">
                <a:latin typeface="Helvetica Neue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Helvetica Neue"/>
              </a:defRPr>
            </a:lvl1pPr>
          </a:lstStyle>
          <a:p>
            <a:pPr>
              <a:defRPr/>
            </a:pPr>
            <a:fld id="{3B4239F1-8D00-43D9-ACBE-D7F5606DA4B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8" name="Object 640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88" name="think-cell Slide" r:id="rId19" imgW="360" imgH="360" progId="">
              <p:embed/>
            </p:oleObj>
          </a:graphicData>
        </a:graphic>
      </p:graphicFrame>
      <p:sp>
        <p:nvSpPr>
          <p:cNvPr id="7" name="Rectangle 6" hidden="1">
            <a:extLst>
              <a:ext uri="{FF2B5EF4-FFF2-40B4-BE49-F238E27FC236}"/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ight Triangle 7"/>
          <p:cNvSpPr/>
          <p:nvPr userDrawn="1"/>
        </p:nvSpPr>
        <p:spPr>
          <a:xfrm>
            <a:off x="0" y="5903913"/>
            <a:ext cx="985838" cy="954087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Helvetica Neue"/>
            </a:endParaRPr>
          </a:p>
        </p:txBody>
      </p:sp>
      <p:sp>
        <p:nvSpPr>
          <p:cNvPr id="2692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69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463675"/>
            <a:ext cx="10515600" cy="4351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53125" y="6356350"/>
            <a:ext cx="2200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accent1">
                    <a:lumMod val="50000"/>
                  </a:schemeClr>
                </a:solidFill>
                <a:latin typeface="Helvetica Neue"/>
                <a:cs typeface="+mn-cs"/>
              </a:defRPr>
            </a:lvl1pPr>
          </a:lstStyle>
          <a:p>
            <a:pPr>
              <a:defRPr/>
            </a:pPr>
            <a:fld id="{EC1EE62A-3F5C-4A44-90F8-A3C2F34AE22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2697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20"/>
          <a:srcRect/>
          <a:stretch>
            <a:fillRect/>
          </a:stretch>
        </p:blipFill>
        <p:spPr bwMode="auto">
          <a:xfrm>
            <a:off x="107950" y="6373813"/>
            <a:ext cx="3762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62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200" kern="1200">
          <a:solidFill>
            <a:srgbClr val="253356"/>
          </a:solidFill>
          <a:latin typeface="Helvetica Neue"/>
          <a:ea typeface="+mj-ea"/>
          <a:cs typeface="Arial" panose="020B0604020202020204" pitchFamily="34" charset="0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253356"/>
          </a:solidFill>
          <a:latin typeface="Helvetica Neue"/>
          <a:cs typeface="Arial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253356"/>
          </a:solidFill>
          <a:latin typeface="Helvetica Neue"/>
          <a:cs typeface="Arial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253356"/>
          </a:solidFill>
          <a:latin typeface="Helvetica Neue"/>
          <a:cs typeface="Arial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253356"/>
          </a:solidFill>
          <a:latin typeface="Helvetica Neue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253356"/>
          </a:solidFill>
          <a:latin typeface="Helvetica Neue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253356"/>
          </a:solidFill>
          <a:latin typeface="Helvetica Neue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253356"/>
          </a:solidFill>
          <a:latin typeface="Helvetica Neue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253356"/>
          </a:solidFill>
          <a:latin typeface="Helvetica Neue"/>
          <a:cs typeface="Arial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5.vml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6.vml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9.vml"/><Relationship Id="rId4" Type="http://schemas.openxmlformats.org/officeDocument/2006/relationships/oleObject" Target="../embeddings/oleObject3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7.vml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8.vml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4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467" name="Object 46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8467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/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l-GR" sz="320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43275" y="4113213"/>
            <a:ext cx="7005638" cy="758825"/>
          </a:xfrm>
        </p:spPr>
        <p:txBody>
          <a:bodyPr rtlCol="0" anchor="t">
            <a:noAutofit/>
          </a:bodyPr>
          <a:lstStyle/>
          <a:p>
            <a:pPr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533"/>
              <a:defRPr/>
            </a:pPr>
            <a:r>
              <a:rPr lang="el-GR" sz="2800" b="1" dirty="0" smtClean="0">
                <a:solidFill>
                  <a:schemeClr val="tx1"/>
                </a:solidFill>
                <a:ea typeface="Arial"/>
                <a:cs typeface="Arial"/>
                <a:sym typeface="Georgia"/>
              </a:rPr>
              <a:t/>
            </a:r>
            <a:br>
              <a:rPr lang="el-GR" sz="2800" b="1" dirty="0" smtClean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  <a:t/>
            </a:r>
            <a:b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  <a:t/>
            </a:r>
            <a:b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endParaRPr lang="el-GR" sz="3200" dirty="0">
              <a:solidFill>
                <a:schemeClr val="tx1"/>
              </a:solid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128470" name="Google Shape;403;p57"/>
          <p:cNvSpPr>
            <a:spLocks noGrp="1"/>
          </p:cNvSpPr>
          <p:nvPr>
            <p:ph type="subTitle" idx="1"/>
          </p:nvPr>
        </p:nvSpPr>
        <p:spPr>
          <a:xfrm>
            <a:off x="8042275" y="5099050"/>
            <a:ext cx="3549650" cy="2289175"/>
          </a:xfrm>
        </p:spPr>
        <p:txBody>
          <a:bodyPr lIns="91425" tIns="45700" rIns="91425" bIns="45700"/>
          <a:lstStyle/>
          <a:p>
            <a:pPr>
              <a:lnSpc>
                <a:spcPct val="100000"/>
              </a:lnSpc>
              <a:buClr>
                <a:srgbClr val="000000"/>
              </a:buClr>
              <a:buSzPts val="2000"/>
            </a:pPr>
            <a:endParaRPr lang="el-GR" sz="2000" smtClean="0">
              <a:cs typeface="Arial" charset="0"/>
            </a:endParaRPr>
          </a:p>
          <a:p>
            <a:pPr>
              <a:lnSpc>
                <a:spcPct val="100000"/>
              </a:lnSpc>
              <a:buClr>
                <a:srgbClr val="000000"/>
              </a:buClr>
              <a:buSzPts val="1800"/>
            </a:pPr>
            <a:r>
              <a:rPr lang="en-US" sz="1800" b="1" smtClean="0">
                <a:cs typeface="Arial" charset="0"/>
              </a:rPr>
              <a:t>1</a:t>
            </a:r>
            <a:r>
              <a:rPr lang="el-GR" sz="1800" b="1" smtClean="0">
                <a:cs typeface="Arial" charset="0"/>
              </a:rPr>
              <a:t>7</a:t>
            </a:r>
            <a:r>
              <a:rPr lang="el-GR" sz="1800" b="1" baseline="30000" smtClean="0">
                <a:cs typeface="Arial" charset="0"/>
              </a:rPr>
              <a:t>η</a:t>
            </a:r>
            <a:r>
              <a:rPr lang="el-GR" sz="1800" b="1" smtClean="0">
                <a:cs typeface="Arial" charset="0"/>
              </a:rPr>
              <a:t> Μαΐου 2020</a:t>
            </a:r>
          </a:p>
        </p:txBody>
      </p:sp>
      <p:sp>
        <p:nvSpPr>
          <p:cNvPr id="6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6151563" y="2984500"/>
            <a:ext cx="5483225" cy="2387600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r">
              <a:lnSpc>
                <a:spcPct val="70000"/>
              </a:lnSpc>
            </a:pPr>
            <a:r>
              <a:rPr lang="el-GR" sz="3000">
                <a:solidFill>
                  <a:srgbClr val="143F6A"/>
                </a:solidFill>
                <a:latin typeface="Helvetica Neue"/>
                <a:sym typeface="Georgia" pitchFamily="18" charset="0"/>
              </a:rPr>
              <a:t>Επαναφορά της οικονομικής δραστηριότητας</a:t>
            </a:r>
            <a:r>
              <a:rPr lang="el-GR" sz="3000">
                <a:latin typeface="Helvetica Neue"/>
                <a:sym typeface="Georgia" pitchFamily="18" charset="0"/>
              </a:rPr>
              <a:t/>
            </a:r>
            <a:br>
              <a:rPr lang="el-GR" sz="3000">
                <a:latin typeface="Helvetica Neue"/>
                <a:sym typeface="Georgia" pitchFamily="18" charset="0"/>
              </a:rPr>
            </a:br>
            <a:r>
              <a:rPr lang="el-GR" sz="3000">
                <a:latin typeface="Helvetica Neue"/>
                <a:sym typeface="Georgia" pitchFamily="18" charset="0"/>
              </a:rPr>
              <a:t/>
            </a:r>
            <a:br>
              <a:rPr lang="el-GR" sz="3000">
                <a:latin typeface="Helvetica Neue"/>
                <a:sym typeface="Georgia" pitchFamily="18" charset="0"/>
              </a:rPr>
            </a:br>
            <a:r>
              <a:rPr lang="en-US" sz="2400">
                <a:solidFill>
                  <a:srgbClr val="374D81"/>
                </a:solidFill>
                <a:latin typeface="Helvetica Neue"/>
                <a:sym typeface="Georgia" pitchFamily="18" charset="0"/>
              </a:rPr>
              <a:t>3</a:t>
            </a:r>
            <a:r>
              <a:rPr lang="el-GR" sz="2400" baseline="30000">
                <a:solidFill>
                  <a:srgbClr val="374D81"/>
                </a:solidFill>
                <a:latin typeface="Helvetica Neue"/>
                <a:sym typeface="Georgia" pitchFamily="18" charset="0"/>
              </a:rPr>
              <a:t>ο </a:t>
            </a:r>
            <a:r>
              <a:rPr lang="el-GR" sz="2400">
                <a:solidFill>
                  <a:srgbClr val="374D81"/>
                </a:solidFill>
                <a:latin typeface="Helvetica Neue"/>
                <a:sym typeface="Georgia" pitchFamily="18" charset="0"/>
              </a:rPr>
              <a:t>&amp; 4</a:t>
            </a:r>
            <a:r>
              <a:rPr lang="el-GR" sz="2400" baseline="30000">
                <a:solidFill>
                  <a:srgbClr val="374D81"/>
                </a:solidFill>
                <a:latin typeface="Helvetica Neue"/>
                <a:sym typeface="Georgia" pitchFamily="18" charset="0"/>
              </a:rPr>
              <a:t>ο</a:t>
            </a:r>
            <a:r>
              <a:rPr lang="el-GR" sz="2400">
                <a:solidFill>
                  <a:srgbClr val="374D81"/>
                </a:solidFill>
                <a:latin typeface="Helvetica Neue"/>
                <a:sym typeface="Georgia" pitchFamily="18" charset="0"/>
              </a:rPr>
              <a:t> Στάδιο</a:t>
            </a:r>
            <a:endParaRPr lang="el-GR" sz="2200">
              <a:solidFill>
                <a:srgbClr val="374D81"/>
              </a:solidFill>
              <a:latin typeface="Helvetica Neue"/>
              <a:sym typeface="Georgia" pitchFamily="18" charset="0"/>
            </a:endParaRPr>
          </a:p>
          <a:p>
            <a:pPr algn="r">
              <a:lnSpc>
                <a:spcPct val="70000"/>
              </a:lnSpc>
            </a:pPr>
            <a:endParaRPr lang="el-GR" sz="1700">
              <a:solidFill>
                <a:srgbClr val="374D81"/>
              </a:solidFill>
              <a:latin typeface="Helvetica Neue"/>
              <a:sym typeface="Georgia" pitchFamily="18" charset="0"/>
            </a:endParaRPr>
          </a:p>
          <a:p>
            <a:pPr algn="r">
              <a:lnSpc>
                <a:spcPct val="70000"/>
              </a:lnSpc>
            </a:pPr>
            <a:r>
              <a:rPr lang="el-GR">
                <a:solidFill>
                  <a:srgbClr val="374D81"/>
                </a:solidFill>
                <a:latin typeface="Helvetica Neue"/>
                <a:sym typeface="Georgia" pitchFamily="18" charset="0"/>
              </a:rPr>
              <a:t>(1</a:t>
            </a:r>
            <a:r>
              <a:rPr lang="en-US">
                <a:solidFill>
                  <a:srgbClr val="374D81"/>
                </a:solidFill>
                <a:latin typeface="Helvetica Neue"/>
                <a:sym typeface="Georgia" pitchFamily="18" charset="0"/>
              </a:rPr>
              <a:t>8</a:t>
            </a:r>
            <a:r>
              <a:rPr lang="el-GR">
                <a:solidFill>
                  <a:srgbClr val="374D81"/>
                </a:solidFill>
                <a:latin typeface="Helvetica Neue"/>
                <a:sym typeface="Georgia" pitchFamily="18" charset="0"/>
              </a:rPr>
              <a:t> &amp; 25 Μαΐου)  </a:t>
            </a:r>
            <a:r>
              <a:rPr lang="en-US" sz="3000">
                <a:latin typeface="Helvetica Neue"/>
                <a:sym typeface="Georgia" pitchFamily="18" charset="0"/>
              </a:rPr>
              <a:t/>
            </a:r>
            <a:br>
              <a:rPr lang="en-US" sz="3000">
                <a:latin typeface="Helvetica Neue"/>
                <a:sym typeface="Georgia" pitchFamily="18" charset="0"/>
              </a:rPr>
            </a:br>
            <a:r>
              <a:rPr lang="en-US" sz="3000">
                <a:latin typeface="Helvetica Neue"/>
                <a:sym typeface="Georgia" pitchFamily="18" charset="0"/>
              </a:rPr>
              <a:t/>
            </a:r>
            <a:br>
              <a:rPr lang="en-US" sz="3000">
                <a:latin typeface="Helvetica Neue"/>
                <a:sym typeface="Georgia" pitchFamily="18" charset="0"/>
              </a:rPr>
            </a:br>
            <a:endParaRPr lang="el-GR" sz="3000">
              <a:latin typeface="Helvetica Neue"/>
              <a:sym typeface="Georgia" pitchFamily="18" charset="0"/>
            </a:endParaRPr>
          </a:p>
        </p:txBody>
      </p:sp>
      <p:sp>
        <p:nvSpPr>
          <p:cNvPr id="128472" name="6 - Ορθογώνιο"/>
          <p:cNvSpPr>
            <a:spLocks noChangeArrowheads="1"/>
          </p:cNvSpPr>
          <p:nvPr/>
        </p:nvSpPr>
        <p:spPr bwMode="auto">
          <a:xfrm>
            <a:off x="1233488" y="6211888"/>
            <a:ext cx="833437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b="1">
                <a:solidFill>
                  <a:schemeClr val="bg1"/>
                </a:solidFill>
                <a:latin typeface="Calibri" pitchFamily="34" charset="0"/>
                <a:sym typeface="Georgia" pitchFamily="18" charset="0"/>
              </a:rPr>
              <a:t>Υπουργείο Ανάπτυξης και Επενδύσεων </a:t>
            </a:r>
          </a:p>
        </p:txBody>
      </p:sp>
      <p:sp>
        <p:nvSpPr>
          <p:cNvPr id="128473" name="Title 1"/>
          <p:cNvSpPr txBox="1">
            <a:spLocks/>
          </p:cNvSpPr>
          <p:nvPr/>
        </p:nvSpPr>
        <p:spPr bwMode="auto">
          <a:xfrm>
            <a:off x="6545263" y="671513"/>
            <a:ext cx="5102225" cy="2436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>
              <a:buClr>
                <a:srgbClr val="000000"/>
              </a:buClr>
              <a:buSzPts val="4500"/>
            </a:pPr>
            <a:r>
              <a:rPr lang="el-GR" sz="3200" b="1">
                <a:latin typeface="Helvetica Neue"/>
                <a:sym typeface="Georgia" pitchFamily="18" charset="0"/>
              </a:rPr>
              <a:t>Σχέδιο σταδιακής αποκλιμάκωσης των περιοριστικών μέτρων </a:t>
            </a:r>
            <a:br>
              <a:rPr lang="el-GR" sz="3200" b="1">
                <a:latin typeface="Helvetica Neue"/>
                <a:sym typeface="Georgia" pitchFamily="18" charset="0"/>
              </a:rPr>
            </a:br>
            <a:r>
              <a:rPr lang="el-GR" sz="3200" b="1">
                <a:latin typeface="Helvetica Neue"/>
                <a:sym typeface="Georgia" pitchFamily="18" charset="0"/>
              </a:rPr>
              <a:t/>
            </a:r>
            <a:br>
              <a:rPr lang="el-GR" sz="3200" b="1">
                <a:latin typeface="Helvetica Neue"/>
                <a:sym typeface="Georgia" pitchFamily="18" charset="0"/>
              </a:rPr>
            </a:br>
            <a:endParaRPr lang="el-GR" sz="3200">
              <a:latin typeface="Calibri" pitchFamily="34" charset="0"/>
              <a:sym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Diagonal Corners Snipped 10">
            <a:extLst>
              <a:ext uri="{FF2B5EF4-FFF2-40B4-BE49-F238E27FC236}"/>
            </a:extLst>
          </p:cNvPr>
          <p:cNvSpPr/>
          <p:nvPr/>
        </p:nvSpPr>
        <p:spPr>
          <a:xfrm>
            <a:off x="425450" y="547688"/>
            <a:ext cx="10987088" cy="874712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3</a:t>
            </a:r>
            <a:r>
              <a:rPr lang="en-GB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o 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Στάδιο – 18 Μαΐου</a:t>
            </a:r>
          </a:p>
        </p:txBody>
      </p:sp>
      <p:sp>
        <p:nvSpPr>
          <p:cNvPr id="18" name="TextBox 17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450975" y="2679700"/>
            <a:ext cx="1192213" cy="23495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endParaRPr lang="el-GR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endParaRPr lang="el-GR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91.04</a:t>
            </a:r>
          </a:p>
          <a:p>
            <a:pPr marL="0" indent="0" algn="ctr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(Βοτανικοί και ζωολογικοί κήποι και φυσικοί βιότοποι) </a:t>
            </a:r>
            <a:endParaRPr lang="el-GR" sz="13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701925" y="2682875"/>
            <a:ext cx="7356475" cy="72072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285750" indent="-285750" fontAlgn="auto">
              <a:spcAft>
                <a:spcPts val="0"/>
              </a:spcAft>
              <a:buClr>
                <a:srgbClr val="000000"/>
              </a:buClr>
              <a:buSzPts val="1200"/>
              <a:buFont typeface="Wingdings" panose="05000000000000000000" pitchFamily="2" charset="2"/>
              <a:buChar char="q"/>
              <a:defRPr/>
            </a:pPr>
            <a:r>
              <a:rPr lang="el-GR" sz="1600" dirty="0" smtClean="0">
                <a:cs typeface="Arial"/>
              </a:rPr>
              <a:t>Απόσταση 2 μέτρων μεταξύ των  ατόμων.</a:t>
            </a:r>
            <a:endParaRPr lang="el-GR" sz="1600" dirty="0">
              <a:cs typeface="Arial"/>
            </a:endParaRPr>
          </a:p>
        </p:txBody>
      </p:sp>
      <p:sp>
        <p:nvSpPr>
          <p:cNvPr id="60" name="TextBox 59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701925" y="3479800"/>
            <a:ext cx="7356475" cy="72072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hangingPunct="0">
              <a:spcBef>
                <a:spcPts val="0"/>
              </a:spcBef>
              <a:spcAft>
                <a:spcPts val="0"/>
              </a:spcAft>
              <a:buSzPct val="75000"/>
              <a:buFont typeface="Wingdings" panose="05000000000000000000" pitchFamily="2" charset="2"/>
              <a:buChar char="q"/>
              <a:defRPr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r>
              <a:rPr lang="el-GR" sz="1500" dirty="0" smtClean="0">
                <a:cs typeface="Times New Roman" panose="02020603050405020304" pitchFamily="18" charset="0"/>
              </a:rPr>
              <a:t>Ισχυρή σύσταση μη ιατρικής μάσκας προστασίας.</a:t>
            </a: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61" name="TextBox 60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701925" y="4291013"/>
            <a:ext cx="7356475" cy="719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500" dirty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SzPct val="75000"/>
              <a:buFont typeface="Wingdings" panose="05000000000000000000" pitchFamily="2" charset="2"/>
              <a:buChar char="q"/>
              <a:defRPr/>
            </a:pPr>
            <a:r>
              <a:rPr lang="el-GR" sz="1600" dirty="0" smtClean="0">
                <a:cs typeface="Arial"/>
              </a:rPr>
              <a:t>Δεν επιτρέπονται οι παραστάσεις.</a:t>
            </a:r>
            <a:endParaRPr lang="el-GR" sz="1500" dirty="0" smtClean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67" name="TextBox 66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692400" y="2230438"/>
            <a:ext cx="7364413" cy="41592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500" b="1" dirty="0">
                <a:cs typeface="Times New Roman" panose="02020603050405020304" pitchFamily="18" charset="0"/>
              </a:rPr>
              <a:t>Ειδικές </a:t>
            </a:r>
            <a:r>
              <a:rPr lang="el-GR" sz="1500" b="1" dirty="0" smtClean="0">
                <a:cs typeface="Times New Roman" panose="02020603050405020304" pitchFamily="18" charset="0"/>
              </a:rPr>
              <a:t>Ρυθμίσεις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68" name="TextBox 67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450975" y="2220913"/>
            <a:ext cx="1193800" cy="42545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500" b="1" dirty="0">
                <a:solidFill>
                  <a:schemeClr val="bg1"/>
                </a:solidFill>
                <a:cs typeface="Times New Roman" panose="02020603050405020304" pitchFamily="18" charset="0"/>
              </a:rPr>
              <a:t>ΚΑΔ</a:t>
            </a:r>
          </a:p>
        </p:txBody>
      </p:sp>
      <p:sp>
        <p:nvSpPr>
          <p:cNvPr id="341000" name="Slide Number Placeholder 1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ts val="900"/>
            </a:pPr>
            <a:fld id="{A52ABBE2-DEBB-4EB5-9A2E-D24B945253F2}" type="slidenum">
              <a: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ts val="900"/>
              </a:pPr>
              <a:t>10</a:t>
            </a:fld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341001" name="3 - TextBox"/>
          <p:cNvSpPr txBox="1">
            <a:spLocks noChangeArrowheads="1"/>
          </p:cNvSpPr>
          <p:nvPr/>
        </p:nvSpPr>
        <p:spPr bwMode="auto">
          <a:xfrm>
            <a:off x="555625" y="1568450"/>
            <a:ext cx="107283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2000" b="1">
                <a:solidFill>
                  <a:srgbClr val="002060"/>
                </a:solidFill>
                <a:latin typeface="Calibri" pitchFamily="34" charset="0"/>
              </a:rPr>
              <a:t>Κανόνες λειτουργίας Ζωολογικών Πάρκων &amp; Βοτανικών Κήπων – Ειδικές Ρυθμίσεις</a:t>
            </a:r>
          </a:p>
        </p:txBody>
      </p:sp>
      <p:sp>
        <p:nvSpPr>
          <p:cNvPr id="13" name="Freeform 268">
            <a:extLst>
              <a:ext uri="{FF2B5EF4-FFF2-40B4-BE49-F238E27FC236}"/>
            </a:extLst>
          </p:cNvPr>
          <p:cNvSpPr>
            <a:spLocks noChangeAspect="1" noEditPoints="1"/>
          </p:cNvSpPr>
          <p:nvPr/>
        </p:nvSpPr>
        <p:spPr bwMode="auto">
          <a:xfrm>
            <a:off x="1730375" y="2876550"/>
            <a:ext cx="571500" cy="571500"/>
          </a:xfrm>
          <a:custGeom>
            <a:avLst/>
            <a:gdLst>
              <a:gd name="T0" fmla="*/ 0 w 297"/>
              <a:gd name="T1" fmla="*/ 0 h 298"/>
              <a:gd name="T2" fmla="*/ 0 w 297"/>
              <a:gd name="T3" fmla="*/ 298 h 298"/>
              <a:gd name="T4" fmla="*/ 138 w 297"/>
              <a:gd name="T5" fmla="*/ 298 h 298"/>
              <a:gd name="T6" fmla="*/ 138 w 297"/>
              <a:gd name="T7" fmla="*/ 236 h 298"/>
              <a:gd name="T8" fmla="*/ 86 w 297"/>
              <a:gd name="T9" fmla="*/ 236 h 298"/>
              <a:gd name="T10" fmla="*/ 122 w 297"/>
              <a:gd name="T11" fmla="*/ 174 h 298"/>
              <a:gd name="T12" fmla="*/ 100 w 297"/>
              <a:gd name="T13" fmla="*/ 174 h 298"/>
              <a:gd name="T14" fmla="*/ 133 w 297"/>
              <a:gd name="T15" fmla="*/ 116 h 298"/>
              <a:gd name="T16" fmla="*/ 113 w 297"/>
              <a:gd name="T17" fmla="*/ 116 h 298"/>
              <a:gd name="T18" fmla="*/ 149 w 297"/>
              <a:gd name="T19" fmla="*/ 55 h 298"/>
              <a:gd name="T20" fmla="*/ 184 w 297"/>
              <a:gd name="T21" fmla="*/ 116 h 298"/>
              <a:gd name="T22" fmla="*/ 165 w 297"/>
              <a:gd name="T23" fmla="*/ 116 h 298"/>
              <a:gd name="T24" fmla="*/ 198 w 297"/>
              <a:gd name="T25" fmla="*/ 174 h 298"/>
              <a:gd name="T26" fmla="*/ 175 w 297"/>
              <a:gd name="T27" fmla="*/ 174 h 298"/>
              <a:gd name="T28" fmla="*/ 211 w 297"/>
              <a:gd name="T29" fmla="*/ 236 h 298"/>
              <a:gd name="T30" fmla="*/ 160 w 297"/>
              <a:gd name="T31" fmla="*/ 236 h 298"/>
              <a:gd name="T32" fmla="*/ 160 w 297"/>
              <a:gd name="T33" fmla="*/ 298 h 298"/>
              <a:gd name="T34" fmla="*/ 297 w 297"/>
              <a:gd name="T35" fmla="*/ 298 h 298"/>
              <a:gd name="T36" fmla="*/ 297 w 297"/>
              <a:gd name="T37" fmla="*/ 0 h 298"/>
              <a:gd name="T38" fmla="*/ 0 w 297"/>
              <a:gd name="T39" fmla="*/ 0 h 298"/>
              <a:gd name="T40" fmla="*/ 284 w 297"/>
              <a:gd name="T41" fmla="*/ 285 h 298"/>
              <a:gd name="T42" fmla="*/ 173 w 297"/>
              <a:gd name="T43" fmla="*/ 285 h 298"/>
              <a:gd name="T44" fmla="*/ 173 w 297"/>
              <a:gd name="T45" fmla="*/ 249 h 298"/>
              <a:gd name="T46" fmla="*/ 233 w 297"/>
              <a:gd name="T47" fmla="*/ 249 h 298"/>
              <a:gd name="T48" fmla="*/ 197 w 297"/>
              <a:gd name="T49" fmla="*/ 187 h 298"/>
              <a:gd name="T50" fmla="*/ 219 w 297"/>
              <a:gd name="T51" fmla="*/ 187 h 298"/>
              <a:gd name="T52" fmla="*/ 186 w 297"/>
              <a:gd name="T53" fmla="*/ 129 h 298"/>
              <a:gd name="T54" fmla="*/ 206 w 297"/>
              <a:gd name="T55" fmla="*/ 129 h 298"/>
              <a:gd name="T56" fmla="*/ 149 w 297"/>
              <a:gd name="T57" fmla="*/ 30 h 298"/>
              <a:gd name="T58" fmla="*/ 92 w 297"/>
              <a:gd name="T59" fmla="*/ 129 h 298"/>
              <a:gd name="T60" fmla="*/ 111 w 297"/>
              <a:gd name="T61" fmla="*/ 129 h 298"/>
              <a:gd name="T62" fmla="*/ 78 w 297"/>
              <a:gd name="T63" fmla="*/ 187 h 298"/>
              <a:gd name="T64" fmla="*/ 100 w 297"/>
              <a:gd name="T65" fmla="*/ 187 h 298"/>
              <a:gd name="T66" fmla="*/ 64 w 297"/>
              <a:gd name="T67" fmla="*/ 249 h 298"/>
              <a:gd name="T68" fmla="*/ 125 w 297"/>
              <a:gd name="T69" fmla="*/ 249 h 298"/>
              <a:gd name="T70" fmla="*/ 125 w 297"/>
              <a:gd name="T71" fmla="*/ 285 h 298"/>
              <a:gd name="T72" fmla="*/ 13 w 297"/>
              <a:gd name="T73" fmla="*/ 285 h 298"/>
              <a:gd name="T74" fmla="*/ 13 w 297"/>
              <a:gd name="T75" fmla="*/ 12 h 298"/>
              <a:gd name="T76" fmla="*/ 284 w 297"/>
              <a:gd name="T77" fmla="*/ 12 h 298"/>
              <a:gd name="T78" fmla="*/ 284 w 297"/>
              <a:gd name="T79" fmla="*/ 285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7" h="298">
                <a:moveTo>
                  <a:pt x="0" y="0"/>
                </a:moveTo>
                <a:lnTo>
                  <a:pt x="0" y="298"/>
                </a:lnTo>
                <a:lnTo>
                  <a:pt x="138" y="298"/>
                </a:lnTo>
                <a:lnTo>
                  <a:pt x="138" y="236"/>
                </a:lnTo>
                <a:lnTo>
                  <a:pt x="86" y="236"/>
                </a:lnTo>
                <a:lnTo>
                  <a:pt x="122" y="174"/>
                </a:lnTo>
                <a:lnTo>
                  <a:pt x="100" y="174"/>
                </a:lnTo>
                <a:lnTo>
                  <a:pt x="133" y="116"/>
                </a:lnTo>
                <a:lnTo>
                  <a:pt x="113" y="116"/>
                </a:lnTo>
                <a:lnTo>
                  <a:pt x="149" y="55"/>
                </a:lnTo>
                <a:lnTo>
                  <a:pt x="184" y="116"/>
                </a:lnTo>
                <a:lnTo>
                  <a:pt x="165" y="116"/>
                </a:lnTo>
                <a:lnTo>
                  <a:pt x="198" y="174"/>
                </a:lnTo>
                <a:lnTo>
                  <a:pt x="175" y="174"/>
                </a:lnTo>
                <a:lnTo>
                  <a:pt x="211" y="236"/>
                </a:lnTo>
                <a:lnTo>
                  <a:pt x="160" y="236"/>
                </a:lnTo>
                <a:lnTo>
                  <a:pt x="160" y="298"/>
                </a:lnTo>
                <a:lnTo>
                  <a:pt x="297" y="298"/>
                </a:lnTo>
                <a:lnTo>
                  <a:pt x="297" y="0"/>
                </a:lnTo>
                <a:lnTo>
                  <a:pt x="0" y="0"/>
                </a:lnTo>
                <a:close/>
                <a:moveTo>
                  <a:pt x="284" y="285"/>
                </a:moveTo>
                <a:lnTo>
                  <a:pt x="173" y="285"/>
                </a:lnTo>
                <a:lnTo>
                  <a:pt x="173" y="249"/>
                </a:lnTo>
                <a:lnTo>
                  <a:pt x="233" y="249"/>
                </a:lnTo>
                <a:lnTo>
                  <a:pt x="197" y="187"/>
                </a:lnTo>
                <a:lnTo>
                  <a:pt x="219" y="187"/>
                </a:lnTo>
                <a:lnTo>
                  <a:pt x="186" y="129"/>
                </a:lnTo>
                <a:lnTo>
                  <a:pt x="206" y="129"/>
                </a:lnTo>
                <a:lnTo>
                  <a:pt x="149" y="30"/>
                </a:lnTo>
                <a:lnTo>
                  <a:pt x="92" y="129"/>
                </a:lnTo>
                <a:lnTo>
                  <a:pt x="111" y="129"/>
                </a:lnTo>
                <a:lnTo>
                  <a:pt x="78" y="187"/>
                </a:lnTo>
                <a:lnTo>
                  <a:pt x="100" y="187"/>
                </a:lnTo>
                <a:lnTo>
                  <a:pt x="64" y="249"/>
                </a:lnTo>
                <a:lnTo>
                  <a:pt x="125" y="249"/>
                </a:lnTo>
                <a:lnTo>
                  <a:pt x="125" y="285"/>
                </a:lnTo>
                <a:lnTo>
                  <a:pt x="13" y="285"/>
                </a:lnTo>
                <a:lnTo>
                  <a:pt x="13" y="12"/>
                </a:lnTo>
                <a:lnTo>
                  <a:pt x="284" y="12"/>
                </a:lnTo>
                <a:lnTo>
                  <a:pt x="284" y="28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114300" tIns="57150" rIns="114300" bIns="57150"/>
          <a:lstStyle/>
          <a:p>
            <a:pPr defTabSz="11430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250">
              <a:latin typeface="+mn-lt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017" name="Θέση αριθμού διαφάνειας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ts val="900"/>
            </a:pPr>
            <a:fld id="{0EB56E15-6D10-4DE5-ACD3-B2771B1A56CF}" type="slidenum">
              <a: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ts val="900"/>
              </a:pPr>
              <a:t>11</a:t>
            </a:fld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5" name="Rectangle: Diagonal Corners Snipped 10">
            <a:extLst>
              <a:ext uri="{FF2B5EF4-FFF2-40B4-BE49-F238E27FC236}"/>
            </a:extLst>
          </p:cNvPr>
          <p:cNvSpPr/>
          <p:nvPr/>
        </p:nvSpPr>
        <p:spPr>
          <a:xfrm>
            <a:off x="425450" y="547688"/>
            <a:ext cx="10987088" cy="874712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4</a:t>
            </a:r>
            <a:r>
              <a:rPr lang="en-GB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o 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Στάδιο – </a:t>
            </a:r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25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 Μαΐου</a:t>
            </a:r>
          </a:p>
        </p:txBody>
      </p:sp>
      <p:sp>
        <p:nvSpPr>
          <p:cNvPr id="6" name="TextBox 17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463675" y="2570163"/>
            <a:ext cx="1179513" cy="380682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10</a:t>
            </a: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30</a:t>
            </a: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" name="TextBox 18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701925" y="2593975"/>
            <a:ext cx="7588250" cy="71913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400" dirty="0" smtClean="0">
                <a:cs typeface="+mn-cs"/>
              </a:rPr>
              <a:t>Ο </a:t>
            </a:r>
            <a:r>
              <a:rPr lang="el-GR" sz="1400" b="1" dirty="0">
                <a:cs typeface="+mn-cs"/>
              </a:rPr>
              <a:t>μέγιστος επιτρεπόμενος αριθμός πελατών </a:t>
            </a:r>
            <a:r>
              <a:rPr lang="el-GR" sz="1400" dirty="0">
                <a:cs typeface="+mn-cs"/>
              </a:rPr>
              <a:t>ορίζεται ως ο αριθμός που προκύπτει από την αναλογία </a:t>
            </a:r>
            <a:r>
              <a:rPr lang="el-GR" sz="1400" dirty="0" smtClean="0">
                <a:cs typeface="+mn-cs"/>
              </a:rPr>
              <a:t>ενός πελάτη </a:t>
            </a:r>
            <a:r>
              <a:rPr lang="el-GR" sz="1400" b="1" dirty="0">
                <a:cs typeface="+mn-cs"/>
              </a:rPr>
              <a:t>ανα 2 τ.μ. συνολικής ωφέλιμης επιτρεπόμενης επιφάνειας λειτουργίας (ΣΩΕΕΛ). </a:t>
            </a:r>
          </a:p>
        </p:txBody>
      </p:sp>
      <p:sp>
        <p:nvSpPr>
          <p:cNvPr id="8" name="TextBox 59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701925" y="3363913"/>
            <a:ext cx="7588250" cy="72072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400" dirty="0" smtClean="0">
                <a:cs typeface="+mn-cs"/>
              </a:rPr>
              <a:t> Ο μέγιστος επιτρεπόμενος αριθμός πελατών </a:t>
            </a:r>
            <a:r>
              <a:rPr lang="el-GR" sz="1400" b="1" dirty="0" smtClean="0">
                <a:cs typeface="+mn-cs"/>
              </a:rPr>
              <a:t>δεν </a:t>
            </a:r>
            <a:r>
              <a:rPr lang="el-GR" sz="1400" b="1" dirty="0">
                <a:cs typeface="+mn-cs"/>
              </a:rPr>
              <a:t>δύναται να υπερβαίνει τον επιτρεπόμενο μέγιστο αριθμό πελατών </a:t>
            </a:r>
            <a:r>
              <a:rPr lang="el-GR" sz="1400" dirty="0">
                <a:cs typeface="+mn-cs"/>
              </a:rPr>
              <a:t> που επιτρέπεται από την αρχική άδεια λειτουργίας του καταστήματος.</a:t>
            </a:r>
          </a:p>
        </p:txBody>
      </p:sp>
      <p:sp>
        <p:nvSpPr>
          <p:cNvPr id="9" name="TextBox 60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692400" y="4141788"/>
            <a:ext cx="7588250" cy="11747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600" b="1" dirty="0" smtClean="0">
              <a:cs typeface="+mn-cs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600" b="1" dirty="0">
              <a:cs typeface="+mn-cs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600" b="1" dirty="0" smtClean="0">
              <a:cs typeface="+mn-cs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600" b="1" dirty="0" smtClean="0">
              <a:cs typeface="+mn-cs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600" b="1" dirty="0" smtClean="0">
                <a:cs typeface="+mn-cs"/>
              </a:rPr>
              <a:t> ΣΩΕΕΛ =ΥΕ +ΗΕ</a:t>
            </a: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l-GR" sz="1400" dirty="0" smtClean="0">
                <a:cs typeface="+mn-cs"/>
              </a:rPr>
              <a:t>Η </a:t>
            </a:r>
            <a:r>
              <a:rPr lang="el-GR" sz="1400" b="1" dirty="0" smtClean="0">
                <a:cs typeface="+mn-cs"/>
              </a:rPr>
              <a:t>υπαίθρια </a:t>
            </a:r>
            <a:r>
              <a:rPr lang="el-GR" sz="1400" b="1" dirty="0">
                <a:cs typeface="+mn-cs"/>
              </a:rPr>
              <a:t>επιφάνεια (ΥΕ) </a:t>
            </a:r>
            <a:r>
              <a:rPr lang="el-GR" sz="1400" dirty="0">
                <a:cs typeface="+mn-cs"/>
              </a:rPr>
              <a:t>είναι το εμβαδόν της επιφάνειας εκτός του φυσικού καταστήματος όπου η επιχείρηση δύναται να αναπτύξει τραπεζοκαθίσματα</a:t>
            </a:r>
            <a:r>
              <a:rPr lang="el-GR" sz="1400" dirty="0" smtClean="0">
                <a:cs typeface="+mn-cs"/>
              </a:rPr>
              <a:t>.</a:t>
            </a: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l-GR" sz="1400" dirty="0">
                <a:cs typeface="+mn-cs"/>
              </a:rPr>
              <a:t>Η </a:t>
            </a:r>
            <a:r>
              <a:rPr lang="el-GR" sz="1400" b="1" dirty="0">
                <a:cs typeface="+mn-cs"/>
              </a:rPr>
              <a:t>εσωτερική </a:t>
            </a:r>
            <a:r>
              <a:rPr lang="el-GR" sz="1400" b="1" dirty="0" err="1">
                <a:cs typeface="+mn-cs"/>
              </a:rPr>
              <a:t>ημιυπαίθρια</a:t>
            </a:r>
            <a:r>
              <a:rPr lang="el-GR" sz="1400" b="1" dirty="0">
                <a:cs typeface="+mn-cs"/>
              </a:rPr>
              <a:t> επιφάνεια (ΗΕ) </a:t>
            </a:r>
            <a:r>
              <a:rPr lang="el-GR" sz="1400" dirty="0">
                <a:cs typeface="+mn-cs"/>
              </a:rPr>
              <a:t>είναι το εμβαδόν </a:t>
            </a:r>
            <a:r>
              <a:rPr lang="el-GR" sz="1400" dirty="0" smtClean="0">
                <a:cs typeface="+mn-cs"/>
              </a:rPr>
              <a:t>εντός </a:t>
            </a:r>
            <a:r>
              <a:rPr lang="el-GR" sz="1400" dirty="0">
                <a:cs typeface="+mn-cs"/>
              </a:rPr>
              <a:t>του καταστήματος που δύναται να αναπτυχθούν τραπεζοκαθίσματα. </a:t>
            </a:r>
            <a:endParaRPr lang="el-GR" sz="1400" dirty="0" smtClean="0">
              <a:cs typeface="+mn-cs"/>
            </a:endParaRPr>
          </a:p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400" b="1" dirty="0" smtClean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500" dirty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0" name="TextBox 66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692400" y="2122488"/>
            <a:ext cx="7597775" cy="414337"/>
          </a:xfrm>
          <a:prstGeom prst="rect">
            <a:avLst/>
          </a:prstGeom>
          <a:ln/>
          <a:extLst>
            <a:ext uri="{FAA26D3D-D897-4be2-8F04-BA451C77F1D7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5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600" b="1" dirty="0" smtClean="0">
                <a:solidFill>
                  <a:schemeClr val="bg1"/>
                </a:solidFill>
              </a:rPr>
              <a:t>Προϋποθέσεις λειτουργίας</a:t>
            </a:r>
          </a:p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1" name="TextBox 67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463675" y="2112963"/>
            <a:ext cx="1181100" cy="42386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5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      ΚΑΔ</a:t>
            </a:r>
            <a:endParaRPr lang="el-GR" sz="1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2" name="TextBox 16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709863" y="5373688"/>
            <a:ext cx="7570787" cy="10033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r>
              <a:rPr lang="el-GR" sz="1500" dirty="0" smtClean="0">
                <a:cs typeface="Times New Roman" panose="02020603050405020304" pitchFamily="18" charset="0"/>
              </a:rPr>
              <a:t> </a:t>
            </a:r>
            <a:r>
              <a:rPr lang="el-GR" sz="1400" dirty="0">
                <a:cs typeface="+mn-cs"/>
              </a:rPr>
              <a:t>Η </a:t>
            </a:r>
            <a:r>
              <a:rPr lang="el-GR" sz="1400" b="1" dirty="0">
                <a:cs typeface="+mn-cs"/>
              </a:rPr>
              <a:t>δυνατότητα της χρήσης </a:t>
            </a:r>
            <a:r>
              <a:rPr lang="el-GR" sz="1400" dirty="0">
                <a:cs typeface="+mn-cs"/>
              </a:rPr>
              <a:t>εσωτερικής </a:t>
            </a:r>
            <a:r>
              <a:rPr lang="el-GR" sz="1400" dirty="0" err="1">
                <a:cs typeface="+mn-cs"/>
              </a:rPr>
              <a:t>ημιυπαίθριας</a:t>
            </a:r>
            <a:r>
              <a:rPr lang="el-GR" sz="1400" dirty="0">
                <a:cs typeface="+mn-cs"/>
              </a:rPr>
              <a:t> </a:t>
            </a:r>
            <a:r>
              <a:rPr lang="el-GR" sz="1400" dirty="0" smtClean="0">
                <a:cs typeface="+mn-cs"/>
              </a:rPr>
              <a:t>επιφάνειας </a:t>
            </a:r>
            <a:r>
              <a:rPr lang="el-GR" sz="1400" b="1" dirty="0" smtClean="0">
                <a:cs typeface="+mn-cs"/>
              </a:rPr>
              <a:t>(ΗΕ) </a:t>
            </a:r>
            <a:r>
              <a:rPr lang="el-GR" sz="1400" dirty="0" smtClean="0">
                <a:cs typeface="+mn-cs"/>
              </a:rPr>
              <a:t>προκύπτει όταν υφίσταται </a:t>
            </a:r>
            <a:r>
              <a:rPr lang="el-GR" sz="1400" b="1" dirty="0" smtClean="0">
                <a:cs typeface="+mn-cs"/>
              </a:rPr>
              <a:t>πλευρά ή πλευρές του χώρου πλάτους (Π) και ύψους (Υ) </a:t>
            </a:r>
            <a:r>
              <a:rPr lang="el-GR" sz="1400" dirty="0" smtClean="0">
                <a:cs typeface="+mn-cs"/>
              </a:rPr>
              <a:t>σε </a:t>
            </a:r>
            <a:r>
              <a:rPr lang="el-GR" sz="1400" dirty="0">
                <a:cs typeface="+mn-cs"/>
              </a:rPr>
              <a:t>επαφή με υπαίθριο εξωτερικό χώρο ή αίθριο </a:t>
            </a:r>
            <a:r>
              <a:rPr lang="el-GR" sz="1400" b="1" dirty="0">
                <a:cs typeface="+mn-cs"/>
              </a:rPr>
              <a:t>που δύναται να αφαιρεθεί/</a:t>
            </a:r>
            <a:r>
              <a:rPr lang="el-GR" sz="1400" b="1" dirty="0" err="1">
                <a:cs typeface="+mn-cs"/>
              </a:rPr>
              <a:t>ουν</a:t>
            </a:r>
            <a:r>
              <a:rPr lang="el-GR" sz="1600" b="1" dirty="0">
                <a:cs typeface="+mn-cs"/>
              </a:rPr>
              <a:t>. </a:t>
            </a:r>
            <a:endParaRPr lang="en-US" sz="1500" b="1" dirty="0" smtClean="0">
              <a:cs typeface="Times New Roman" panose="02020603050405020304" pitchFamily="18" charset="0"/>
            </a:endParaRPr>
          </a:p>
        </p:txBody>
      </p:sp>
      <p:sp>
        <p:nvSpPr>
          <p:cNvPr id="342026" name="3 - TextBox"/>
          <p:cNvSpPr txBox="1">
            <a:spLocks noChangeArrowheads="1"/>
          </p:cNvSpPr>
          <p:nvPr/>
        </p:nvSpPr>
        <p:spPr bwMode="auto">
          <a:xfrm>
            <a:off x="555625" y="1568450"/>
            <a:ext cx="107283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2000" b="1">
                <a:solidFill>
                  <a:srgbClr val="002060"/>
                </a:solidFill>
                <a:latin typeface="Calibri" pitchFamily="34" charset="0"/>
              </a:rPr>
              <a:t>Προϋποθέσεις λειτουργίας καταστημάτων υγειονομικού ενδιαφέροντος </a:t>
            </a:r>
          </a:p>
        </p:txBody>
      </p:sp>
      <p:grpSp>
        <p:nvGrpSpPr>
          <p:cNvPr id="14" name="Group 9">
            <a:extLst>
              <a:ext uri="{FF2B5EF4-FFF2-40B4-BE49-F238E27FC236}"/>
            </a:extLst>
          </p:cNvPr>
          <p:cNvGrpSpPr>
            <a:grpSpLocks noChangeAspect="1"/>
          </p:cNvGrpSpPr>
          <p:nvPr/>
        </p:nvGrpSpPr>
        <p:grpSpPr>
          <a:xfrm>
            <a:off x="1777402" y="3391207"/>
            <a:ext cx="552161" cy="559331"/>
            <a:chOff x="2424113" y="1219200"/>
            <a:chExt cx="122238" cy="123825"/>
          </a:xfrm>
          <a:solidFill>
            <a:schemeClr val="bg1"/>
          </a:solidFill>
        </p:grpSpPr>
        <p:sp>
          <p:nvSpPr>
            <p:cNvPr id="15" name="Freeform 93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2424113" y="1219200"/>
              <a:ext cx="122238" cy="123825"/>
            </a:xfrm>
            <a:custGeom>
              <a:avLst/>
              <a:gdLst>
                <a:gd name="T0" fmla="*/ 0 w 77"/>
                <a:gd name="T1" fmla="*/ 0 h 78"/>
                <a:gd name="T2" fmla="*/ 0 w 77"/>
                <a:gd name="T3" fmla="*/ 78 h 78"/>
                <a:gd name="T4" fmla="*/ 77 w 77"/>
                <a:gd name="T5" fmla="*/ 78 h 78"/>
                <a:gd name="T6" fmla="*/ 77 w 77"/>
                <a:gd name="T7" fmla="*/ 0 h 78"/>
                <a:gd name="T8" fmla="*/ 0 w 77"/>
                <a:gd name="T9" fmla="*/ 0 h 78"/>
                <a:gd name="T10" fmla="*/ 74 w 77"/>
                <a:gd name="T11" fmla="*/ 74 h 78"/>
                <a:gd name="T12" fmla="*/ 3 w 77"/>
                <a:gd name="T13" fmla="*/ 74 h 78"/>
                <a:gd name="T14" fmla="*/ 3 w 77"/>
                <a:gd name="T15" fmla="*/ 3 h 78"/>
                <a:gd name="T16" fmla="*/ 74 w 77"/>
                <a:gd name="T17" fmla="*/ 3 h 78"/>
                <a:gd name="T18" fmla="*/ 74 w 77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8">
                  <a:moveTo>
                    <a:pt x="0" y="0"/>
                  </a:moveTo>
                  <a:lnTo>
                    <a:pt x="0" y="78"/>
                  </a:lnTo>
                  <a:lnTo>
                    <a:pt x="77" y="78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114300" tIns="57150" rIns="114300" bIns="57150"/>
            <a:lstStyle/>
            <a:p>
              <a:pPr defTabSz="11430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250">
                <a:latin typeface="+mn-lt"/>
                <a:cs typeface="+mn-cs"/>
              </a:endParaRPr>
            </a:p>
          </p:txBody>
        </p:sp>
        <p:sp>
          <p:nvSpPr>
            <p:cNvPr id="16" name="Freeform 94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2501900" y="1244600"/>
              <a:ext cx="25400" cy="82550"/>
            </a:xfrm>
            <a:custGeom>
              <a:avLst/>
              <a:gdLst>
                <a:gd name="T0" fmla="*/ 113 w 113"/>
                <a:gd name="T1" fmla="*/ 93 h 381"/>
                <a:gd name="T2" fmla="*/ 57 w 113"/>
                <a:gd name="T3" fmla="*/ 0 h 381"/>
                <a:gd name="T4" fmla="*/ 0 w 113"/>
                <a:gd name="T5" fmla="*/ 93 h 381"/>
                <a:gd name="T6" fmla="*/ 24 w 113"/>
                <a:gd name="T7" fmla="*/ 158 h 381"/>
                <a:gd name="T8" fmla="*/ 24 w 113"/>
                <a:gd name="T9" fmla="*/ 381 h 381"/>
                <a:gd name="T10" fmla="*/ 90 w 113"/>
                <a:gd name="T11" fmla="*/ 381 h 381"/>
                <a:gd name="T12" fmla="*/ 90 w 113"/>
                <a:gd name="T13" fmla="*/ 158 h 381"/>
                <a:gd name="T14" fmla="*/ 113 w 113"/>
                <a:gd name="T15" fmla="*/ 93 h 381"/>
                <a:gd name="T16" fmla="*/ 57 w 113"/>
                <a:gd name="T17" fmla="*/ 24 h 381"/>
                <a:gd name="T18" fmla="*/ 89 w 113"/>
                <a:gd name="T19" fmla="*/ 93 h 381"/>
                <a:gd name="T20" fmla="*/ 57 w 113"/>
                <a:gd name="T21" fmla="*/ 146 h 381"/>
                <a:gd name="T22" fmla="*/ 25 w 113"/>
                <a:gd name="T23" fmla="*/ 93 h 381"/>
                <a:gd name="T24" fmla="*/ 57 w 113"/>
                <a:gd name="T25" fmla="*/ 24 h 381"/>
                <a:gd name="T26" fmla="*/ 65 w 113"/>
                <a:gd name="T27" fmla="*/ 357 h 381"/>
                <a:gd name="T28" fmla="*/ 48 w 113"/>
                <a:gd name="T29" fmla="*/ 357 h 381"/>
                <a:gd name="T30" fmla="*/ 48 w 113"/>
                <a:gd name="T31" fmla="*/ 170 h 381"/>
                <a:gd name="T32" fmla="*/ 57 w 113"/>
                <a:gd name="T33" fmla="*/ 170 h 381"/>
                <a:gd name="T34" fmla="*/ 65 w 113"/>
                <a:gd name="T35" fmla="*/ 170 h 381"/>
                <a:gd name="T36" fmla="*/ 65 w 113"/>
                <a:gd name="T37" fmla="*/ 357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3" h="381">
                  <a:moveTo>
                    <a:pt x="113" y="93"/>
                  </a:moveTo>
                  <a:cubicBezTo>
                    <a:pt x="113" y="40"/>
                    <a:pt x="89" y="0"/>
                    <a:pt x="57" y="0"/>
                  </a:cubicBezTo>
                  <a:cubicBezTo>
                    <a:pt x="25" y="0"/>
                    <a:pt x="0" y="40"/>
                    <a:pt x="0" y="93"/>
                  </a:cubicBezTo>
                  <a:cubicBezTo>
                    <a:pt x="0" y="117"/>
                    <a:pt x="7" y="143"/>
                    <a:pt x="24" y="158"/>
                  </a:cubicBezTo>
                  <a:cubicBezTo>
                    <a:pt x="24" y="381"/>
                    <a:pt x="24" y="381"/>
                    <a:pt x="24" y="381"/>
                  </a:cubicBezTo>
                  <a:cubicBezTo>
                    <a:pt x="90" y="381"/>
                    <a:pt x="90" y="381"/>
                    <a:pt x="90" y="381"/>
                  </a:cubicBezTo>
                  <a:cubicBezTo>
                    <a:pt x="90" y="158"/>
                    <a:pt x="90" y="158"/>
                    <a:pt x="90" y="158"/>
                  </a:cubicBezTo>
                  <a:cubicBezTo>
                    <a:pt x="107" y="143"/>
                    <a:pt x="113" y="117"/>
                    <a:pt x="113" y="93"/>
                  </a:cubicBezTo>
                  <a:close/>
                  <a:moveTo>
                    <a:pt x="57" y="24"/>
                  </a:moveTo>
                  <a:cubicBezTo>
                    <a:pt x="72" y="24"/>
                    <a:pt x="89" y="53"/>
                    <a:pt x="89" y="93"/>
                  </a:cubicBezTo>
                  <a:cubicBezTo>
                    <a:pt x="89" y="126"/>
                    <a:pt x="77" y="146"/>
                    <a:pt x="57" y="146"/>
                  </a:cubicBezTo>
                  <a:cubicBezTo>
                    <a:pt x="37" y="146"/>
                    <a:pt x="25" y="126"/>
                    <a:pt x="25" y="93"/>
                  </a:cubicBezTo>
                  <a:cubicBezTo>
                    <a:pt x="25" y="53"/>
                    <a:pt x="42" y="24"/>
                    <a:pt x="57" y="24"/>
                  </a:cubicBezTo>
                  <a:close/>
                  <a:moveTo>
                    <a:pt x="65" y="357"/>
                  </a:moveTo>
                  <a:cubicBezTo>
                    <a:pt x="48" y="357"/>
                    <a:pt x="48" y="357"/>
                    <a:pt x="48" y="357"/>
                  </a:cubicBezTo>
                  <a:cubicBezTo>
                    <a:pt x="48" y="170"/>
                    <a:pt x="48" y="170"/>
                    <a:pt x="48" y="170"/>
                  </a:cubicBezTo>
                  <a:cubicBezTo>
                    <a:pt x="51" y="170"/>
                    <a:pt x="54" y="170"/>
                    <a:pt x="57" y="170"/>
                  </a:cubicBezTo>
                  <a:cubicBezTo>
                    <a:pt x="60" y="170"/>
                    <a:pt x="63" y="170"/>
                    <a:pt x="65" y="170"/>
                  </a:cubicBezTo>
                  <a:lnTo>
                    <a:pt x="65" y="3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114300" tIns="57150" rIns="114300" bIns="57150"/>
            <a:lstStyle/>
            <a:p>
              <a:pPr defTabSz="11430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250">
                <a:latin typeface="+mn-lt"/>
                <a:cs typeface="+mn-cs"/>
              </a:endParaRPr>
            </a:p>
          </p:txBody>
        </p:sp>
        <p:sp>
          <p:nvSpPr>
            <p:cNvPr id="17" name="Freeform 95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2476500" y="1233488"/>
              <a:ext cx="17463" cy="93663"/>
            </a:xfrm>
            <a:custGeom>
              <a:avLst/>
              <a:gdLst>
                <a:gd name="T0" fmla="*/ 72 w 84"/>
                <a:gd name="T1" fmla="*/ 0 h 433"/>
                <a:gd name="T2" fmla="*/ 1 w 84"/>
                <a:gd name="T3" fmla="*/ 81 h 433"/>
                <a:gd name="T4" fmla="*/ 0 w 84"/>
                <a:gd name="T5" fmla="*/ 224 h 433"/>
                <a:gd name="T6" fmla="*/ 0 w 84"/>
                <a:gd name="T7" fmla="*/ 236 h 433"/>
                <a:gd name="T8" fmla="*/ 18 w 84"/>
                <a:gd name="T9" fmla="*/ 236 h 433"/>
                <a:gd name="T10" fmla="*/ 18 w 84"/>
                <a:gd name="T11" fmla="*/ 433 h 433"/>
                <a:gd name="T12" fmla="*/ 84 w 84"/>
                <a:gd name="T13" fmla="*/ 433 h 433"/>
                <a:gd name="T14" fmla="*/ 84 w 84"/>
                <a:gd name="T15" fmla="*/ 235 h 433"/>
                <a:gd name="T16" fmla="*/ 84 w 84"/>
                <a:gd name="T17" fmla="*/ 141 h 433"/>
                <a:gd name="T18" fmla="*/ 84 w 84"/>
                <a:gd name="T19" fmla="*/ 0 h 433"/>
                <a:gd name="T20" fmla="*/ 72 w 84"/>
                <a:gd name="T21" fmla="*/ 0 h 433"/>
                <a:gd name="T22" fmla="*/ 25 w 84"/>
                <a:gd name="T23" fmla="*/ 81 h 433"/>
                <a:gd name="T24" fmla="*/ 59 w 84"/>
                <a:gd name="T25" fmla="*/ 26 h 433"/>
                <a:gd name="T26" fmla="*/ 59 w 84"/>
                <a:gd name="T27" fmla="*/ 211 h 433"/>
                <a:gd name="T28" fmla="*/ 25 w 84"/>
                <a:gd name="T29" fmla="*/ 211 h 433"/>
                <a:gd name="T30" fmla="*/ 25 w 84"/>
                <a:gd name="T31" fmla="*/ 81 h 433"/>
                <a:gd name="T32" fmla="*/ 59 w 84"/>
                <a:gd name="T33" fmla="*/ 409 h 433"/>
                <a:gd name="T34" fmla="*/ 42 w 84"/>
                <a:gd name="T35" fmla="*/ 409 h 433"/>
                <a:gd name="T36" fmla="*/ 42 w 84"/>
                <a:gd name="T37" fmla="*/ 236 h 433"/>
                <a:gd name="T38" fmla="*/ 59 w 84"/>
                <a:gd name="T39" fmla="*/ 235 h 433"/>
                <a:gd name="T40" fmla="*/ 59 w 84"/>
                <a:gd name="T41" fmla="*/ 40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433">
                  <a:moveTo>
                    <a:pt x="72" y="0"/>
                  </a:moveTo>
                  <a:cubicBezTo>
                    <a:pt x="33" y="0"/>
                    <a:pt x="1" y="37"/>
                    <a:pt x="1" y="81"/>
                  </a:cubicBezTo>
                  <a:cubicBezTo>
                    <a:pt x="1" y="120"/>
                    <a:pt x="0" y="223"/>
                    <a:pt x="0" y="224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8" y="433"/>
                    <a:pt x="18" y="433"/>
                    <a:pt x="18" y="433"/>
                  </a:cubicBezTo>
                  <a:cubicBezTo>
                    <a:pt x="84" y="433"/>
                    <a:pt x="84" y="433"/>
                    <a:pt x="84" y="433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141"/>
                    <a:pt x="84" y="141"/>
                    <a:pt x="84" y="141"/>
                  </a:cubicBezTo>
                  <a:cubicBezTo>
                    <a:pt x="84" y="0"/>
                    <a:pt x="84" y="0"/>
                    <a:pt x="84" y="0"/>
                  </a:cubicBezTo>
                  <a:lnTo>
                    <a:pt x="72" y="0"/>
                  </a:lnTo>
                  <a:close/>
                  <a:moveTo>
                    <a:pt x="25" y="81"/>
                  </a:moveTo>
                  <a:cubicBezTo>
                    <a:pt x="25" y="56"/>
                    <a:pt x="40" y="33"/>
                    <a:pt x="59" y="26"/>
                  </a:cubicBezTo>
                  <a:cubicBezTo>
                    <a:pt x="59" y="211"/>
                    <a:pt x="59" y="211"/>
                    <a:pt x="59" y="211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182"/>
                    <a:pt x="25" y="112"/>
                    <a:pt x="25" y="81"/>
                  </a:cubicBezTo>
                  <a:close/>
                  <a:moveTo>
                    <a:pt x="59" y="409"/>
                  </a:moveTo>
                  <a:cubicBezTo>
                    <a:pt x="42" y="409"/>
                    <a:pt x="42" y="409"/>
                    <a:pt x="42" y="409"/>
                  </a:cubicBezTo>
                  <a:cubicBezTo>
                    <a:pt x="42" y="236"/>
                    <a:pt x="42" y="236"/>
                    <a:pt x="42" y="236"/>
                  </a:cubicBezTo>
                  <a:cubicBezTo>
                    <a:pt x="59" y="235"/>
                    <a:pt x="59" y="235"/>
                    <a:pt x="59" y="235"/>
                  </a:cubicBezTo>
                  <a:lnTo>
                    <a:pt x="59" y="4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114300" tIns="57150" rIns="114300" bIns="57150"/>
            <a:lstStyle/>
            <a:p>
              <a:pPr defTabSz="11430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250">
                <a:latin typeface="+mn-lt"/>
                <a:cs typeface="+mn-cs"/>
              </a:endParaRPr>
            </a:p>
          </p:txBody>
        </p:sp>
        <p:sp>
          <p:nvSpPr>
            <p:cNvPr id="18" name="Freeform 96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2443163" y="1244600"/>
              <a:ext cx="25400" cy="82550"/>
            </a:xfrm>
            <a:custGeom>
              <a:avLst/>
              <a:gdLst>
                <a:gd name="T0" fmla="*/ 0 w 122"/>
                <a:gd name="T1" fmla="*/ 0 h 381"/>
                <a:gd name="T2" fmla="*/ 0 w 122"/>
                <a:gd name="T3" fmla="*/ 101 h 381"/>
                <a:gd name="T4" fmla="*/ 28 w 122"/>
                <a:gd name="T5" fmla="*/ 175 h 381"/>
                <a:gd name="T6" fmla="*/ 28 w 122"/>
                <a:gd name="T7" fmla="*/ 381 h 381"/>
                <a:gd name="T8" fmla="*/ 94 w 122"/>
                <a:gd name="T9" fmla="*/ 381 h 381"/>
                <a:gd name="T10" fmla="*/ 94 w 122"/>
                <a:gd name="T11" fmla="*/ 175 h 381"/>
                <a:gd name="T12" fmla="*/ 122 w 122"/>
                <a:gd name="T13" fmla="*/ 101 h 381"/>
                <a:gd name="T14" fmla="*/ 122 w 122"/>
                <a:gd name="T15" fmla="*/ 0 h 381"/>
                <a:gd name="T16" fmla="*/ 0 w 122"/>
                <a:gd name="T17" fmla="*/ 0 h 381"/>
                <a:gd name="T18" fmla="*/ 69 w 122"/>
                <a:gd name="T19" fmla="*/ 357 h 381"/>
                <a:gd name="T20" fmla="*/ 52 w 122"/>
                <a:gd name="T21" fmla="*/ 357 h 381"/>
                <a:gd name="T22" fmla="*/ 52 w 122"/>
                <a:gd name="T23" fmla="*/ 185 h 381"/>
                <a:gd name="T24" fmla="*/ 61 w 122"/>
                <a:gd name="T25" fmla="*/ 186 h 381"/>
                <a:gd name="T26" fmla="*/ 69 w 122"/>
                <a:gd name="T27" fmla="*/ 185 h 381"/>
                <a:gd name="T28" fmla="*/ 69 w 122"/>
                <a:gd name="T29" fmla="*/ 357 h 381"/>
                <a:gd name="T30" fmla="*/ 98 w 122"/>
                <a:gd name="T31" fmla="*/ 101 h 381"/>
                <a:gd name="T32" fmla="*/ 61 w 122"/>
                <a:gd name="T33" fmla="*/ 161 h 381"/>
                <a:gd name="T34" fmla="*/ 24 w 122"/>
                <a:gd name="T35" fmla="*/ 101 h 381"/>
                <a:gd name="T36" fmla="*/ 24 w 122"/>
                <a:gd name="T37" fmla="*/ 24 h 381"/>
                <a:gd name="T38" fmla="*/ 38 w 122"/>
                <a:gd name="T39" fmla="*/ 24 h 381"/>
                <a:gd name="T40" fmla="*/ 38 w 122"/>
                <a:gd name="T41" fmla="*/ 89 h 381"/>
                <a:gd name="T42" fmla="*/ 54 w 122"/>
                <a:gd name="T43" fmla="*/ 89 h 381"/>
                <a:gd name="T44" fmla="*/ 54 w 122"/>
                <a:gd name="T45" fmla="*/ 24 h 381"/>
                <a:gd name="T46" fmla="*/ 67 w 122"/>
                <a:gd name="T47" fmla="*/ 24 h 381"/>
                <a:gd name="T48" fmla="*/ 67 w 122"/>
                <a:gd name="T49" fmla="*/ 89 h 381"/>
                <a:gd name="T50" fmla="*/ 83 w 122"/>
                <a:gd name="T51" fmla="*/ 89 h 381"/>
                <a:gd name="T52" fmla="*/ 83 w 122"/>
                <a:gd name="T53" fmla="*/ 24 h 381"/>
                <a:gd name="T54" fmla="*/ 98 w 122"/>
                <a:gd name="T55" fmla="*/ 24 h 381"/>
                <a:gd name="T56" fmla="*/ 98 w 122"/>
                <a:gd name="T57" fmla="*/ 10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2" h="38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0" y="129"/>
                    <a:pt x="7" y="159"/>
                    <a:pt x="28" y="175"/>
                  </a:cubicBezTo>
                  <a:cubicBezTo>
                    <a:pt x="28" y="381"/>
                    <a:pt x="28" y="381"/>
                    <a:pt x="28" y="381"/>
                  </a:cubicBezTo>
                  <a:cubicBezTo>
                    <a:pt x="94" y="381"/>
                    <a:pt x="94" y="381"/>
                    <a:pt x="94" y="381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114" y="159"/>
                    <a:pt x="122" y="129"/>
                    <a:pt x="122" y="101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0" y="0"/>
                  </a:lnTo>
                  <a:close/>
                  <a:moveTo>
                    <a:pt x="69" y="357"/>
                  </a:moveTo>
                  <a:cubicBezTo>
                    <a:pt x="52" y="357"/>
                    <a:pt x="52" y="357"/>
                    <a:pt x="52" y="357"/>
                  </a:cubicBezTo>
                  <a:cubicBezTo>
                    <a:pt x="52" y="185"/>
                    <a:pt x="52" y="185"/>
                    <a:pt x="52" y="185"/>
                  </a:cubicBezTo>
                  <a:cubicBezTo>
                    <a:pt x="55" y="186"/>
                    <a:pt x="58" y="186"/>
                    <a:pt x="61" y="186"/>
                  </a:cubicBezTo>
                  <a:cubicBezTo>
                    <a:pt x="64" y="186"/>
                    <a:pt x="67" y="186"/>
                    <a:pt x="69" y="185"/>
                  </a:cubicBezTo>
                  <a:lnTo>
                    <a:pt x="69" y="357"/>
                  </a:lnTo>
                  <a:close/>
                  <a:moveTo>
                    <a:pt x="98" y="101"/>
                  </a:moveTo>
                  <a:cubicBezTo>
                    <a:pt x="98" y="139"/>
                    <a:pt x="84" y="161"/>
                    <a:pt x="61" y="161"/>
                  </a:cubicBezTo>
                  <a:cubicBezTo>
                    <a:pt x="38" y="161"/>
                    <a:pt x="24" y="139"/>
                    <a:pt x="24" y="101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89"/>
                    <a:pt x="67" y="89"/>
                    <a:pt x="67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98" y="24"/>
                    <a:pt x="98" y="24"/>
                    <a:pt x="98" y="24"/>
                  </a:cubicBezTo>
                  <a:lnTo>
                    <a:pt x="98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114300" tIns="57150" rIns="114300" bIns="57150"/>
            <a:lstStyle/>
            <a:p>
              <a:pPr defTabSz="11430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250">
                <a:latin typeface="+mn-lt"/>
                <a:cs typeface="+mn-cs"/>
              </a:endParaRPr>
            </a:p>
          </p:txBody>
        </p: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041" name="Θέση αριθμού διαφάνειας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ts val="900"/>
            </a:pPr>
            <a:fld id="{5605713E-8C25-4877-BCE0-76A9E9E381E5}" type="slidenum">
              <a: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ts val="900"/>
              </a:pPr>
              <a:t>12</a:t>
            </a:fld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5" name="Rectangle: Diagonal Corners Snipped 10">
            <a:extLst>
              <a:ext uri="{FF2B5EF4-FFF2-40B4-BE49-F238E27FC236}"/>
            </a:extLst>
          </p:cNvPr>
          <p:cNvSpPr/>
          <p:nvPr/>
        </p:nvSpPr>
        <p:spPr>
          <a:xfrm>
            <a:off x="425450" y="547688"/>
            <a:ext cx="10987088" cy="874712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4</a:t>
            </a:r>
            <a:r>
              <a:rPr lang="en-GB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o 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Στάδιο – </a:t>
            </a:r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25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 Μαΐου</a:t>
            </a:r>
          </a:p>
        </p:txBody>
      </p:sp>
      <p:sp>
        <p:nvSpPr>
          <p:cNvPr id="343043" name="3 - TextBox"/>
          <p:cNvSpPr txBox="1">
            <a:spLocks noChangeArrowheads="1"/>
          </p:cNvSpPr>
          <p:nvPr/>
        </p:nvSpPr>
        <p:spPr bwMode="auto">
          <a:xfrm>
            <a:off x="555625" y="1568450"/>
            <a:ext cx="107283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2000" b="1">
                <a:solidFill>
                  <a:srgbClr val="002060"/>
                </a:solidFill>
                <a:latin typeface="Calibri" pitchFamily="34" charset="0"/>
              </a:rPr>
              <a:t>Προϋποθέσεις λειτουργίας καταστημάτων υγειονομικού ενδιαφέροντος </a:t>
            </a:r>
          </a:p>
        </p:txBody>
      </p:sp>
      <p:sp>
        <p:nvSpPr>
          <p:cNvPr id="7" name="TextBox 17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463675" y="2570163"/>
            <a:ext cx="1179513" cy="380682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10</a:t>
            </a: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30</a:t>
            </a: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" name="TextBox 18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701925" y="2593975"/>
            <a:ext cx="7588250" cy="268763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anchor="ctr"/>
          <a:lstStyle/>
          <a:p>
            <a:pPr marL="177800" indent="-177800">
              <a:spcBef>
                <a:spcPts val="1200"/>
              </a:spcBef>
              <a:buFont typeface="Wingdings" pitchFamily="2" charset="2"/>
              <a:buChar char="q"/>
            </a:pPr>
            <a:endParaRPr lang="el-GR" sz="1400">
              <a:latin typeface="Calibri" pitchFamily="34" charset="0"/>
              <a:ea typeface="Geneva"/>
              <a:cs typeface="Geneva"/>
            </a:endParaRPr>
          </a:p>
          <a:p>
            <a:pPr marL="177800" indent="-177800">
              <a:spcBef>
                <a:spcPts val="1200"/>
              </a:spcBef>
              <a:buFont typeface="Wingdings" pitchFamily="2" charset="2"/>
              <a:buChar char="q"/>
            </a:pPr>
            <a:r>
              <a:rPr lang="el-GR" sz="1400">
                <a:latin typeface="Calibri" pitchFamily="34" charset="0"/>
                <a:ea typeface="Geneva"/>
                <a:cs typeface="Geneva"/>
              </a:rPr>
              <a:t>Το επιτρεπόμενο βάθος (Β) που ορίζει την ΗΕ είναι διάσταση κάθετη προς την πλευρά (Π) και ορίζεται ως εξής: </a:t>
            </a:r>
          </a:p>
          <a:p>
            <a:pPr marL="565150" lvl="1">
              <a:spcBef>
                <a:spcPct val="20000"/>
              </a:spcBef>
            </a:pPr>
            <a:r>
              <a:rPr lang="el-GR" sz="1400" b="1">
                <a:latin typeface="Calibri" pitchFamily="34" charset="0"/>
              </a:rPr>
              <a:t>α. </a:t>
            </a:r>
            <a:r>
              <a:rPr lang="el-GR" sz="1400">
                <a:latin typeface="Calibri" pitchFamily="34" charset="0"/>
              </a:rPr>
              <a:t>Όπου το ύψος </a:t>
            </a:r>
            <a:r>
              <a:rPr lang="el-GR" sz="1400" b="1">
                <a:latin typeface="Calibri" pitchFamily="34" charset="0"/>
              </a:rPr>
              <a:t>(Υ) του ανοίγματος  ≥ 2  μέτρων </a:t>
            </a:r>
            <a:r>
              <a:rPr lang="el-GR" sz="1400">
                <a:latin typeface="Calibri" pitchFamily="34" charset="0"/>
              </a:rPr>
              <a:t>τότε το βάθος (Β) ορίζεται ως </a:t>
            </a:r>
            <a:r>
              <a:rPr lang="el-GR" sz="1400" b="1">
                <a:latin typeface="Calibri" pitchFamily="34" charset="0"/>
              </a:rPr>
              <a:t>(Β)=1,6 Χ (Π)</a:t>
            </a:r>
            <a:r>
              <a:rPr lang="el-GR" sz="1400">
                <a:latin typeface="Calibri" pitchFamily="34" charset="0"/>
              </a:rPr>
              <a:t>. Η ΗΕ ορίζεται ως το γινόμενο (Π) Χ (Β). </a:t>
            </a:r>
            <a:r>
              <a:rPr lang="el-GR" sz="1400">
                <a:solidFill>
                  <a:srgbClr val="072C62"/>
                </a:solidFill>
                <a:latin typeface="Calibri" pitchFamily="34" charset="0"/>
              </a:rPr>
              <a:t>(Παράρτημα 1)</a:t>
            </a:r>
          </a:p>
          <a:p>
            <a:pPr marL="565150" lvl="1">
              <a:spcBef>
                <a:spcPct val="20000"/>
              </a:spcBef>
            </a:pPr>
            <a:r>
              <a:rPr lang="el-GR" sz="1400" b="1">
                <a:latin typeface="Calibri" pitchFamily="34" charset="0"/>
              </a:rPr>
              <a:t>β. </a:t>
            </a:r>
            <a:r>
              <a:rPr lang="el-GR" sz="1400">
                <a:latin typeface="Calibri" pitchFamily="34" charset="0"/>
              </a:rPr>
              <a:t>Όπου το ύψος </a:t>
            </a:r>
            <a:r>
              <a:rPr lang="el-GR" sz="1400" b="1">
                <a:latin typeface="Calibri" pitchFamily="34" charset="0"/>
              </a:rPr>
              <a:t>(Υ) του ανοίγματος  ≥  1 μέτρου </a:t>
            </a:r>
            <a:r>
              <a:rPr lang="el-GR" sz="1400">
                <a:latin typeface="Calibri" pitchFamily="34" charset="0"/>
              </a:rPr>
              <a:t>τότε βάθος (Β) ορίζεται ως </a:t>
            </a:r>
            <a:r>
              <a:rPr lang="el-GR" sz="1400" b="1">
                <a:latin typeface="Calibri" pitchFamily="34" charset="0"/>
              </a:rPr>
              <a:t>(Β)=0,8 Χ (Π)</a:t>
            </a:r>
            <a:r>
              <a:rPr lang="el-GR" sz="1400">
                <a:latin typeface="Calibri" pitchFamily="34" charset="0"/>
              </a:rPr>
              <a:t>.       Η ΗΕ ορίζεται ως το γινόμενο (Π) Χ (Β).</a:t>
            </a:r>
            <a:r>
              <a:rPr lang="el-GR" sz="1400">
                <a:solidFill>
                  <a:srgbClr val="072C62"/>
                </a:solidFill>
                <a:latin typeface="Calibri" pitchFamily="34" charset="0"/>
              </a:rPr>
              <a:t> (Παράρτημα 2)</a:t>
            </a:r>
            <a:endParaRPr lang="el-GR" sz="1400">
              <a:latin typeface="Calibri" pitchFamily="34" charset="0"/>
            </a:endParaRPr>
          </a:p>
          <a:p>
            <a:pPr marL="565150" lvl="1">
              <a:spcBef>
                <a:spcPct val="20000"/>
              </a:spcBef>
            </a:pPr>
            <a:r>
              <a:rPr lang="el-GR" sz="1400" b="1">
                <a:latin typeface="Calibri" pitchFamily="34" charset="0"/>
              </a:rPr>
              <a:t>γ. </a:t>
            </a:r>
            <a:r>
              <a:rPr lang="el-GR" sz="1400">
                <a:latin typeface="Calibri" pitchFamily="34" charset="0"/>
              </a:rPr>
              <a:t>Οι ανωτέρω διατάξεις α και β δύναται να λειτουργούν </a:t>
            </a:r>
            <a:r>
              <a:rPr lang="el-GR" sz="1400" b="1">
                <a:latin typeface="Calibri" pitchFamily="34" charset="0"/>
              </a:rPr>
              <a:t>συνδυαστικά</a:t>
            </a:r>
            <a:r>
              <a:rPr lang="el-GR" sz="1400">
                <a:latin typeface="Calibri" pitchFamily="34" charset="0"/>
              </a:rPr>
              <a:t> σε χώρους εστίασης με ανοίγματα σε δύο και περισσότερες πλευρές. </a:t>
            </a:r>
            <a:r>
              <a:rPr lang="el-GR" sz="1400">
                <a:solidFill>
                  <a:srgbClr val="072C62"/>
                </a:solidFill>
                <a:latin typeface="Calibri" pitchFamily="34" charset="0"/>
              </a:rPr>
              <a:t>(Παράρτημα 3)</a:t>
            </a:r>
            <a:endParaRPr lang="el-GR" sz="1400">
              <a:latin typeface="Calibri" pitchFamily="34" charset="0"/>
            </a:endParaRPr>
          </a:p>
          <a:p>
            <a:pPr marL="565150" lvl="1">
              <a:spcBef>
                <a:spcPct val="20000"/>
              </a:spcBef>
            </a:pPr>
            <a:r>
              <a:rPr lang="el-GR" sz="1400" b="1">
                <a:latin typeface="Calibri" pitchFamily="34" charset="0"/>
              </a:rPr>
              <a:t>γ. </a:t>
            </a:r>
            <a:r>
              <a:rPr lang="el-GR" sz="1400">
                <a:latin typeface="Calibri" pitchFamily="34" charset="0"/>
              </a:rPr>
              <a:t>Τα </a:t>
            </a:r>
            <a:r>
              <a:rPr lang="el-GR" sz="1400" b="1">
                <a:latin typeface="Calibri" pitchFamily="34" charset="0"/>
              </a:rPr>
              <a:t>υποστυλώματα ή οι διακοσμητικές στήλες </a:t>
            </a:r>
            <a:r>
              <a:rPr lang="el-GR" sz="1400">
                <a:latin typeface="Calibri" pitchFamily="34" charset="0"/>
              </a:rPr>
              <a:t>έως πλάτος </a:t>
            </a:r>
            <a:r>
              <a:rPr lang="el-GR" sz="1400" b="1">
                <a:latin typeface="Calibri" pitchFamily="34" charset="0"/>
              </a:rPr>
              <a:t>0,5 μ</a:t>
            </a:r>
            <a:r>
              <a:rPr lang="el-GR" sz="1400">
                <a:latin typeface="Calibri" pitchFamily="34" charset="0"/>
              </a:rPr>
              <a:t> που διακόπτουν την συνέχεια της πλευράς (Π) </a:t>
            </a:r>
            <a:r>
              <a:rPr lang="el-GR" sz="1400" b="1">
                <a:latin typeface="Calibri" pitchFamily="34" charset="0"/>
              </a:rPr>
              <a:t>δεν λαμβάνονται υπόψη </a:t>
            </a:r>
            <a:r>
              <a:rPr lang="el-GR" sz="1400">
                <a:latin typeface="Calibri" pitchFamily="34" charset="0"/>
              </a:rPr>
              <a:t>και δεν μπορούν να υπερβαίνουν το είκοσι τοις εκατό </a:t>
            </a:r>
            <a:r>
              <a:rPr lang="el-GR" sz="1400" b="1">
                <a:latin typeface="Calibri" pitchFamily="34" charset="0"/>
              </a:rPr>
              <a:t>(20%) της επιφάνειας της πλευράς</a:t>
            </a:r>
            <a:r>
              <a:rPr lang="el-GR" sz="1400">
                <a:latin typeface="Calibri" pitchFamily="34" charset="0"/>
              </a:rPr>
              <a:t>.</a:t>
            </a:r>
          </a:p>
          <a:p>
            <a:pPr marL="177800" indent="-177800">
              <a:spcBef>
                <a:spcPts val="1200"/>
              </a:spcBef>
              <a:buFont typeface="Wingdings" pitchFamily="2" charset="2"/>
              <a:buChar char="q"/>
            </a:pPr>
            <a:endParaRPr lang="el-GR" sz="1400" b="1">
              <a:latin typeface="Calibri" pitchFamily="34" charset="0"/>
              <a:ea typeface="Geneva"/>
              <a:cs typeface="Geneva"/>
            </a:endParaRPr>
          </a:p>
        </p:txBody>
      </p:sp>
      <p:sp>
        <p:nvSpPr>
          <p:cNvPr id="9" name="TextBox 59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701925" y="5915025"/>
            <a:ext cx="7588250" cy="45402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400" dirty="0">
                <a:cs typeface="+mn-cs"/>
              </a:rPr>
              <a:t> </a:t>
            </a:r>
            <a:r>
              <a:rPr lang="el-GR" sz="1400" dirty="0" smtClean="0">
                <a:cs typeface="+mn-cs"/>
              </a:rPr>
              <a:t>Επιτρέπεται </a:t>
            </a:r>
            <a:r>
              <a:rPr lang="el-GR" sz="1400" b="1" dirty="0">
                <a:cs typeface="+mn-cs"/>
              </a:rPr>
              <a:t>απόκλιση</a:t>
            </a:r>
            <a:r>
              <a:rPr lang="el-GR" sz="1400" dirty="0">
                <a:cs typeface="+mn-cs"/>
              </a:rPr>
              <a:t> έως οκτώ τοις εκατό </a:t>
            </a:r>
            <a:r>
              <a:rPr lang="el-GR" sz="1400" b="1" dirty="0">
                <a:cs typeface="+mn-cs"/>
              </a:rPr>
              <a:t>(8%) </a:t>
            </a:r>
            <a:r>
              <a:rPr lang="el-GR" sz="1400" dirty="0">
                <a:cs typeface="+mn-cs"/>
              </a:rPr>
              <a:t>σε κάθε </a:t>
            </a:r>
            <a:r>
              <a:rPr lang="el-GR" sz="1400" dirty="0" smtClean="0">
                <a:cs typeface="+mn-cs"/>
              </a:rPr>
              <a:t>διάσταση.</a:t>
            </a:r>
            <a:endParaRPr lang="el-GR" sz="1400" dirty="0">
              <a:cs typeface="+mn-cs"/>
            </a:endParaRPr>
          </a:p>
        </p:txBody>
      </p:sp>
      <p:sp>
        <p:nvSpPr>
          <p:cNvPr id="12" name="TextBox 66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692400" y="2122488"/>
            <a:ext cx="7597775" cy="414337"/>
          </a:xfrm>
          <a:prstGeom prst="rect">
            <a:avLst/>
          </a:prstGeom>
          <a:ln/>
          <a:extLst>
            <a:ext uri="{FAA26D3D-D897-4be2-8F04-BA451C77F1D7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5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600" b="1" dirty="0" smtClean="0">
                <a:solidFill>
                  <a:schemeClr val="bg1"/>
                </a:solidFill>
              </a:rPr>
              <a:t>Προϋποθέσεις ανάπτυξης τραπεζοκαθισμάτων</a:t>
            </a:r>
          </a:p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3" name="TextBox 67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463675" y="2112963"/>
            <a:ext cx="1181100" cy="42386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5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      ΚΑΔ</a:t>
            </a:r>
            <a:endParaRPr lang="el-GR" sz="1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4" name="TextBox 16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705100" y="5341938"/>
            <a:ext cx="7572375" cy="5111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500" dirty="0">
                <a:cs typeface="Times New Roman" panose="02020603050405020304" pitchFamily="18" charset="0"/>
              </a:rPr>
              <a:t> </a:t>
            </a:r>
            <a:r>
              <a:rPr lang="el-GR" sz="1400" dirty="0" smtClean="0">
                <a:cs typeface="+mn-cs"/>
              </a:rPr>
              <a:t>Στην </a:t>
            </a:r>
            <a:r>
              <a:rPr lang="el-GR" sz="1400" dirty="0">
                <a:cs typeface="+mn-cs"/>
              </a:rPr>
              <a:t>περίπτωση που </a:t>
            </a:r>
            <a:r>
              <a:rPr lang="el-GR" sz="1400" b="1" dirty="0">
                <a:cs typeface="+mn-cs"/>
              </a:rPr>
              <a:t>δύναται να ανοίξει η </a:t>
            </a:r>
            <a:r>
              <a:rPr lang="el-GR" sz="1400" b="1" dirty="0" smtClean="0">
                <a:cs typeface="+mn-cs"/>
              </a:rPr>
              <a:t>οροφή </a:t>
            </a:r>
            <a:r>
              <a:rPr lang="el-GR" sz="1400" b="1" dirty="0">
                <a:cs typeface="+mn-cs"/>
              </a:rPr>
              <a:t>του καταστήματος </a:t>
            </a:r>
            <a:r>
              <a:rPr lang="el-GR" sz="1400" dirty="0">
                <a:cs typeface="+mn-cs"/>
              </a:rPr>
              <a:t>(κινητό προστέγασμα), επιτρέπεται </a:t>
            </a:r>
            <a:r>
              <a:rPr lang="el-GR" sz="1400" dirty="0" smtClean="0">
                <a:cs typeface="+mn-cs"/>
              </a:rPr>
              <a:t>η ανάπτυξη τραπεζοκαθισμάτων </a:t>
            </a:r>
            <a:r>
              <a:rPr lang="el-GR" sz="1400" b="1" dirty="0" smtClean="0">
                <a:cs typeface="+mn-cs"/>
              </a:rPr>
              <a:t>καθ’ όλη την επιφάνεια του ακάλυπτου χώρου</a:t>
            </a:r>
            <a:r>
              <a:rPr lang="el-GR" sz="1400" dirty="0" smtClean="0">
                <a:cs typeface="+mn-cs"/>
              </a:rPr>
              <a:t>.</a:t>
            </a:r>
            <a:endParaRPr lang="el-GR" sz="1400" dirty="0">
              <a:cs typeface="+mn-cs"/>
            </a:endParaRPr>
          </a:p>
        </p:txBody>
      </p:sp>
      <p:grpSp>
        <p:nvGrpSpPr>
          <p:cNvPr id="17" name="Group 9">
            <a:extLst>
              <a:ext uri="{FF2B5EF4-FFF2-40B4-BE49-F238E27FC236}"/>
            </a:extLst>
          </p:cNvPr>
          <p:cNvGrpSpPr>
            <a:grpSpLocks noChangeAspect="1"/>
          </p:cNvGrpSpPr>
          <p:nvPr/>
        </p:nvGrpSpPr>
        <p:grpSpPr>
          <a:xfrm>
            <a:off x="1777402" y="3391207"/>
            <a:ext cx="552161" cy="559331"/>
            <a:chOff x="2424113" y="1219200"/>
            <a:chExt cx="122238" cy="123825"/>
          </a:xfrm>
          <a:solidFill>
            <a:schemeClr val="bg1"/>
          </a:solidFill>
        </p:grpSpPr>
        <p:sp>
          <p:nvSpPr>
            <p:cNvPr id="18" name="Freeform 93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2424113" y="1219200"/>
              <a:ext cx="122238" cy="123825"/>
            </a:xfrm>
            <a:custGeom>
              <a:avLst/>
              <a:gdLst>
                <a:gd name="T0" fmla="*/ 0 w 77"/>
                <a:gd name="T1" fmla="*/ 0 h 78"/>
                <a:gd name="T2" fmla="*/ 0 w 77"/>
                <a:gd name="T3" fmla="*/ 78 h 78"/>
                <a:gd name="T4" fmla="*/ 77 w 77"/>
                <a:gd name="T5" fmla="*/ 78 h 78"/>
                <a:gd name="T6" fmla="*/ 77 w 77"/>
                <a:gd name="T7" fmla="*/ 0 h 78"/>
                <a:gd name="T8" fmla="*/ 0 w 77"/>
                <a:gd name="T9" fmla="*/ 0 h 78"/>
                <a:gd name="T10" fmla="*/ 74 w 77"/>
                <a:gd name="T11" fmla="*/ 74 h 78"/>
                <a:gd name="T12" fmla="*/ 3 w 77"/>
                <a:gd name="T13" fmla="*/ 74 h 78"/>
                <a:gd name="T14" fmla="*/ 3 w 77"/>
                <a:gd name="T15" fmla="*/ 3 h 78"/>
                <a:gd name="T16" fmla="*/ 74 w 77"/>
                <a:gd name="T17" fmla="*/ 3 h 78"/>
                <a:gd name="T18" fmla="*/ 74 w 77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8">
                  <a:moveTo>
                    <a:pt x="0" y="0"/>
                  </a:moveTo>
                  <a:lnTo>
                    <a:pt x="0" y="78"/>
                  </a:lnTo>
                  <a:lnTo>
                    <a:pt x="77" y="78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114300" tIns="57150" rIns="114300" bIns="57150"/>
            <a:lstStyle/>
            <a:p>
              <a:pPr defTabSz="11430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250">
                <a:latin typeface="+mn-lt"/>
                <a:cs typeface="+mn-cs"/>
              </a:endParaRPr>
            </a:p>
          </p:txBody>
        </p:sp>
        <p:sp>
          <p:nvSpPr>
            <p:cNvPr id="19" name="Freeform 94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2501900" y="1244600"/>
              <a:ext cx="25400" cy="82550"/>
            </a:xfrm>
            <a:custGeom>
              <a:avLst/>
              <a:gdLst>
                <a:gd name="T0" fmla="*/ 113 w 113"/>
                <a:gd name="T1" fmla="*/ 93 h 381"/>
                <a:gd name="T2" fmla="*/ 57 w 113"/>
                <a:gd name="T3" fmla="*/ 0 h 381"/>
                <a:gd name="T4" fmla="*/ 0 w 113"/>
                <a:gd name="T5" fmla="*/ 93 h 381"/>
                <a:gd name="T6" fmla="*/ 24 w 113"/>
                <a:gd name="T7" fmla="*/ 158 h 381"/>
                <a:gd name="T8" fmla="*/ 24 w 113"/>
                <a:gd name="T9" fmla="*/ 381 h 381"/>
                <a:gd name="T10" fmla="*/ 90 w 113"/>
                <a:gd name="T11" fmla="*/ 381 h 381"/>
                <a:gd name="T12" fmla="*/ 90 w 113"/>
                <a:gd name="T13" fmla="*/ 158 h 381"/>
                <a:gd name="T14" fmla="*/ 113 w 113"/>
                <a:gd name="T15" fmla="*/ 93 h 381"/>
                <a:gd name="T16" fmla="*/ 57 w 113"/>
                <a:gd name="T17" fmla="*/ 24 h 381"/>
                <a:gd name="T18" fmla="*/ 89 w 113"/>
                <a:gd name="T19" fmla="*/ 93 h 381"/>
                <a:gd name="T20" fmla="*/ 57 w 113"/>
                <a:gd name="T21" fmla="*/ 146 h 381"/>
                <a:gd name="T22" fmla="*/ 25 w 113"/>
                <a:gd name="T23" fmla="*/ 93 h 381"/>
                <a:gd name="T24" fmla="*/ 57 w 113"/>
                <a:gd name="T25" fmla="*/ 24 h 381"/>
                <a:gd name="T26" fmla="*/ 65 w 113"/>
                <a:gd name="T27" fmla="*/ 357 h 381"/>
                <a:gd name="T28" fmla="*/ 48 w 113"/>
                <a:gd name="T29" fmla="*/ 357 h 381"/>
                <a:gd name="T30" fmla="*/ 48 w 113"/>
                <a:gd name="T31" fmla="*/ 170 h 381"/>
                <a:gd name="T32" fmla="*/ 57 w 113"/>
                <a:gd name="T33" fmla="*/ 170 h 381"/>
                <a:gd name="T34" fmla="*/ 65 w 113"/>
                <a:gd name="T35" fmla="*/ 170 h 381"/>
                <a:gd name="T36" fmla="*/ 65 w 113"/>
                <a:gd name="T37" fmla="*/ 357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3" h="381">
                  <a:moveTo>
                    <a:pt x="113" y="93"/>
                  </a:moveTo>
                  <a:cubicBezTo>
                    <a:pt x="113" y="40"/>
                    <a:pt x="89" y="0"/>
                    <a:pt x="57" y="0"/>
                  </a:cubicBezTo>
                  <a:cubicBezTo>
                    <a:pt x="25" y="0"/>
                    <a:pt x="0" y="40"/>
                    <a:pt x="0" y="93"/>
                  </a:cubicBezTo>
                  <a:cubicBezTo>
                    <a:pt x="0" y="117"/>
                    <a:pt x="7" y="143"/>
                    <a:pt x="24" y="158"/>
                  </a:cubicBezTo>
                  <a:cubicBezTo>
                    <a:pt x="24" y="381"/>
                    <a:pt x="24" y="381"/>
                    <a:pt x="24" y="381"/>
                  </a:cubicBezTo>
                  <a:cubicBezTo>
                    <a:pt x="90" y="381"/>
                    <a:pt x="90" y="381"/>
                    <a:pt x="90" y="381"/>
                  </a:cubicBezTo>
                  <a:cubicBezTo>
                    <a:pt x="90" y="158"/>
                    <a:pt x="90" y="158"/>
                    <a:pt x="90" y="158"/>
                  </a:cubicBezTo>
                  <a:cubicBezTo>
                    <a:pt x="107" y="143"/>
                    <a:pt x="113" y="117"/>
                    <a:pt x="113" y="93"/>
                  </a:cubicBezTo>
                  <a:close/>
                  <a:moveTo>
                    <a:pt x="57" y="24"/>
                  </a:moveTo>
                  <a:cubicBezTo>
                    <a:pt x="72" y="24"/>
                    <a:pt x="89" y="53"/>
                    <a:pt x="89" y="93"/>
                  </a:cubicBezTo>
                  <a:cubicBezTo>
                    <a:pt x="89" y="126"/>
                    <a:pt x="77" y="146"/>
                    <a:pt x="57" y="146"/>
                  </a:cubicBezTo>
                  <a:cubicBezTo>
                    <a:pt x="37" y="146"/>
                    <a:pt x="25" y="126"/>
                    <a:pt x="25" y="93"/>
                  </a:cubicBezTo>
                  <a:cubicBezTo>
                    <a:pt x="25" y="53"/>
                    <a:pt x="42" y="24"/>
                    <a:pt x="57" y="24"/>
                  </a:cubicBezTo>
                  <a:close/>
                  <a:moveTo>
                    <a:pt x="65" y="357"/>
                  </a:moveTo>
                  <a:cubicBezTo>
                    <a:pt x="48" y="357"/>
                    <a:pt x="48" y="357"/>
                    <a:pt x="48" y="357"/>
                  </a:cubicBezTo>
                  <a:cubicBezTo>
                    <a:pt x="48" y="170"/>
                    <a:pt x="48" y="170"/>
                    <a:pt x="48" y="170"/>
                  </a:cubicBezTo>
                  <a:cubicBezTo>
                    <a:pt x="51" y="170"/>
                    <a:pt x="54" y="170"/>
                    <a:pt x="57" y="170"/>
                  </a:cubicBezTo>
                  <a:cubicBezTo>
                    <a:pt x="60" y="170"/>
                    <a:pt x="63" y="170"/>
                    <a:pt x="65" y="170"/>
                  </a:cubicBezTo>
                  <a:lnTo>
                    <a:pt x="65" y="3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114300" tIns="57150" rIns="114300" bIns="57150"/>
            <a:lstStyle/>
            <a:p>
              <a:pPr defTabSz="11430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250">
                <a:latin typeface="+mn-lt"/>
                <a:cs typeface="+mn-cs"/>
              </a:endParaRPr>
            </a:p>
          </p:txBody>
        </p:sp>
        <p:sp>
          <p:nvSpPr>
            <p:cNvPr id="20" name="Freeform 95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2476500" y="1233488"/>
              <a:ext cx="17463" cy="93663"/>
            </a:xfrm>
            <a:custGeom>
              <a:avLst/>
              <a:gdLst>
                <a:gd name="T0" fmla="*/ 72 w 84"/>
                <a:gd name="T1" fmla="*/ 0 h 433"/>
                <a:gd name="T2" fmla="*/ 1 w 84"/>
                <a:gd name="T3" fmla="*/ 81 h 433"/>
                <a:gd name="T4" fmla="*/ 0 w 84"/>
                <a:gd name="T5" fmla="*/ 224 h 433"/>
                <a:gd name="T6" fmla="*/ 0 w 84"/>
                <a:gd name="T7" fmla="*/ 236 h 433"/>
                <a:gd name="T8" fmla="*/ 18 w 84"/>
                <a:gd name="T9" fmla="*/ 236 h 433"/>
                <a:gd name="T10" fmla="*/ 18 w 84"/>
                <a:gd name="T11" fmla="*/ 433 h 433"/>
                <a:gd name="T12" fmla="*/ 84 w 84"/>
                <a:gd name="T13" fmla="*/ 433 h 433"/>
                <a:gd name="T14" fmla="*/ 84 w 84"/>
                <a:gd name="T15" fmla="*/ 235 h 433"/>
                <a:gd name="T16" fmla="*/ 84 w 84"/>
                <a:gd name="T17" fmla="*/ 141 h 433"/>
                <a:gd name="T18" fmla="*/ 84 w 84"/>
                <a:gd name="T19" fmla="*/ 0 h 433"/>
                <a:gd name="T20" fmla="*/ 72 w 84"/>
                <a:gd name="T21" fmla="*/ 0 h 433"/>
                <a:gd name="T22" fmla="*/ 25 w 84"/>
                <a:gd name="T23" fmla="*/ 81 h 433"/>
                <a:gd name="T24" fmla="*/ 59 w 84"/>
                <a:gd name="T25" fmla="*/ 26 h 433"/>
                <a:gd name="T26" fmla="*/ 59 w 84"/>
                <a:gd name="T27" fmla="*/ 211 h 433"/>
                <a:gd name="T28" fmla="*/ 25 w 84"/>
                <a:gd name="T29" fmla="*/ 211 h 433"/>
                <a:gd name="T30" fmla="*/ 25 w 84"/>
                <a:gd name="T31" fmla="*/ 81 h 433"/>
                <a:gd name="T32" fmla="*/ 59 w 84"/>
                <a:gd name="T33" fmla="*/ 409 h 433"/>
                <a:gd name="T34" fmla="*/ 42 w 84"/>
                <a:gd name="T35" fmla="*/ 409 h 433"/>
                <a:gd name="T36" fmla="*/ 42 w 84"/>
                <a:gd name="T37" fmla="*/ 236 h 433"/>
                <a:gd name="T38" fmla="*/ 59 w 84"/>
                <a:gd name="T39" fmla="*/ 235 h 433"/>
                <a:gd name="T40" fmla="*/ 59 w 84"/>
                <a:gd name="T41" fmla="*/ 40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433">
                  <a:moveTo>
                    <a:pt x="72" y="0"/>
                  </a:moveTo>
                  <a:cubicBezTo>
                    <a:pt x="33" y="0"/>
                    <a:pt x="1" y="37"/>
                    <a:pt x="1" y="81"/>
                  </a:cubicBezTo>
                  <a:cubicBezTo>
                    <a:pt x="1" y="120"/>
                    <a:pt x="0" y="223"/>
                    <a:pt x="0" y="224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8" y="433"/>
                    <a:pt x="18" y="433"/>
                    <a:pt x="18" y="433"/>
                  </a:cubicBezTo>
                  <a:cubicBezTo>
                    <a:pt x="84" y="433"/>
                    <a:pt x="84" y="433"/>
                    <a:pt x="84" y="433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141"/>
                    <a:pt x="84" y="141"/>
                    <a:pt x="84" y="141"/>
                  </a:cubicBezTo>
                  <a:cubicBezTo>
                    <a:pt x="84" y="0"/>
                    <a:pt x="84" y="0"/>
                    <a:pt x="84" y="0"/>
                  </a:cubicBezTo>
                  <a:lnTo>
                    <a:pt x="72" y="0"/>
                  </a:lnTo>
                  <a:close/>
                  <a:moveTo>
                    <a:pt x="25" y="81"/>
                  </a:moveTo>
                  <a:cubicBezTo>
                    <a:pt x="25" y="56"/>
                    <a:pt x="40" y="33"/>
                    <a:pt x="59" y="26"/>
                  </a:cubicBezTo>
                  <a:cubicBezTo>
                    <a:pt x="59" y="211"/>
                    <a:pt x="59" y="211"/>
                    <a:pt x="59" y="211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182"/>
                    <a:pt x="25" y="112"/>
                    <a:pt x="25" y="81"/>
                  </a:cubicBezTo>
                  <a:close/>
                  <a:moveTo>
                    <a:pt x="59" y="409"/>
                  </a:moveTo>
                  <a:cubicBezTo>
                    <a:pt x="42" y="409"/>
                    <a:pt x="42" y="409"/>
                    <a:pt x="42" y="409"/>
                  </a:cubicBezTo>
                  <a:cubicBezTo>
                    <a:pt x="42" y="236"/>
                    <a:pt x="42" y="236"/>
                    <a:pt x="42" y="236"/>
                  </a:cubicBezTo>
                  <a:cubicBezTo>
                    <a:pt x="59" y="235"/>
                    <a:pt x="59" y="235"/>
                    <a:pt x="59" y="235"/>
                  </a:cubicBezTo>
                  <a:lnTo>
                    <a:pt x="59" y="4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114300" tIns="57150" rIns="114300" bIns="57150"/>
            <a:lstStyle/>
            <a:p>
              <a:pPr defTabSz="11430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250">
                <a:latin typeface="+mn-lt"/>
                <a:cs typeface="+mn-cs"/>
              </a:endParaRPr>
            </a:p>
          </p:txBody>
        </p:sp>
        <p:sp>
          <p:nvSpPr>
            <p:cNvPr id="21" name="Freeform 96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2443163" y="1244600"/>
              <a:ext cx="25400" cy="82550"/>
            </a:xfrm>
            <a:custGeom>
              <a:avLst/>
              <a:gdLst>
                <a:gd name="T0" fmla="*/ 0 w 122"/>
                <a:gd name="T1" fmla="*/ 0 h 381"/>
                <a:gd name="T2" fmla="*/ 0 w 122"/>
                <a:gd name="T3" fmla="*/ 101 h 381"/>
                <a:gd name="T4" fmla="*/ 28 w 122"/>
                <a:gd name="T5" fmla="*/ 175 h 381"/>
                <a:gd name="T6" fmla="*/ 28 w 122"/>
                <a:gd name="T7" fmla="*/ 381 h 381"/>
                <a:gd name="T8" fmla="*/ 94 w 122"/>
                <a:gd name="T9" fmla="*/ 381 h 381"/>
                <a:gd name="T10" fmla="*/ 94 w 122"/>
                <a:gd name="T11" fmla="*/ 175 h 381"/>
                <a:gd name="T12" fmla="*/ 122 w 122"/>
                <a:gd name="T13" fmla="*/ 101 h 381"/>
                <a:gd name="T14" fmla="*/ 122 w 122"/>
                <a:gd name="T15" fmla="*/ 0 h 381"/>
                <a:gd name="T16" fmla="*/ 0 w 122"/>
                <a:gd name="T17" fmla="*/ 0 h 381"/>
                <a:gd name="T18" fmla="*/ 69 w 122"/>
                <a:gd name="T19" fmla="*/ 357 h 381"/>
                <a:gd name="T20" fmla="*/ 52 w 122"/>
                <a:gd name="T21" fmla="*/ 357 h 381"/>
                <a:gd name="T22" fmla="*/ 52 w 122"/>
                <a:gd name="T23" fmla="*/ 185 h 381"/>
                <a:gd name="T24" fmla="*/ 61 w 122"/>
                <a:gd name="T25" fmla="*/ 186 h 381"/>
                <a:gd name="T26" fmla="*/ 69 w 122"/>
                <a:gd name="T27" fmla="*/ 185 h 381"/>
                <a:gd name="T28" fmla="*/ 69 w 122"/>
                <a:gd name="T29" fmla="*/ 357 h 381"/>
                <a:gd name="T30" fmla="*/ 98 w 122"/>
                <a:gd name="T31" fmla="*/ 101 h 381"/>
                <a:gd name="T32" fmla="*/ 61 w 122"/>
                <a:gd name="T33" fmla="*/ 161 h 381"/>
                <a:gd name="T34" fmla="*/ 24 w 122"/>
                <a:gd name="T35" fmla="*/ 101 h 381"/>
                <a:gd name="T36" fmla="*/ 24 w 122"/>
                <a:gd name="T37" fmla="*/ 24 h 381"/>
                <a:gd name="T38" fmla="*/ 38 w 122"/>
                <a:gd name="T39" fmla="*/ 24 h 381"/>
                <a:gd name="T40" fmla="*/ 38 w 122"/>
                <a:gd name="T41" fmla="*/ 89 h 381"/>
                <a:gd name="T42" fmla="*/ 54 w 122"/>
                <a:gd name="T43" fmla="*/ 89 h 381"/>
                <a:gd name="T44" fmla="*/ 54 w 122"/>
                <a:gd name="T45" fmla="*/ 24 h 381"/>
                <a:gd name="T46" fmla="*/ 67 w 122"/>
                <a:gd name="T47" fmla="*/ 24 h 381"/>
                <a:gd name="T48" fmla="*/ 67 w 122"/>
                <a:gd name="T49" fmla="*/ 89 h 381"/>
                <a:gd name="T50" fmla="*/ 83 w 122"/>
                <a:gd name="T51" fmla="*/ 89 h 381"/>
                <a:gd name="T52" fmla="*/ 83 w 122"/>
                <a:gd name="T53" fmla="*/ 24 h 381"/>
                <a:gd name="T54" fmla="*/ 98 w 122"/>
                <a:gd name="T55" fmla="*/ 24 h 381"/>
                <a:gd name="T56" fmla="*/ 98 w 122"/>
                <a:gd name="T57" fmla="*/ 10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2" h="38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0" y="129"/>
                    <a:pt x="7" y="159"/>
                    <a:pt x="28" y="175"/>
                  </a:cubicBezTo>
                  <a:cubicBezTo>
                    <a:pt x="28" y="381"/>
                    <a:pt x="28" y="381"/>
                    <a:pt x="28" y="381"/>
                  </a:cubicBezTo>
                  <a:cubicBezTo>
                    <a:pt x="94" y="381"/>
                    <a:pt x="94" y="381"/>
                    <a:pt x="94" y="381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114" y="159"/>
                    <a:pt x="122" y="129"/>
                    <a:pt x="122" y="101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0" y="0"/>
                  </a:lnTo>
                  <a:close/>
                  <a:moveTo>
                    <a:pt x="69" y="357"/>
                  </a:moveTo>
                  <a:cubicBezTo>
                    <a:pt x="52" y="357"/>
                    <a:pt x="52" y="357"/>
                    <a:pt x="52" y="357"/>
                  </a:cubicBezTo>
                  <a:cubicBezTo>
                    <a:pt x="52" y="185"/>
                    <a:pt x="52" y="185"/>
                    <a:pt x="52" y="185"/>
                  </a:cubicBezTo>
                  <a:cubicBezTo>
                    <a:pt x="55" y="186"/>
                    <a:pt x="58" y="186"/>
                    <a:pt x="61" y="186"/>
                  </a:cubicBezTo>
                  <a:cubicBezTo>
                    <a:pt x="64" y="186"/>
                    <a:pt x="67" y="186"/>
                    <a:pt x="69" y="185"/>
                  </a:cubicBezTo>
                  <a:lnTo>
                    <a:pt x="69" y="357"/>
                  </a:lnTo>
                  <a:close/>
                  <a:moveTo>
                    <a:pt x="98" y="101"/>
                  </a:moveTo>
                  <a:cubicBezTo>
                    <a:pt x="98" y="139"/>
                    <a:pt x="84" y="161"/>
                    <a:pt x="61" y="161"/>
                  </a:cubicBezTo>
                  <a:cubicBezTo>
                    <a:pt x="38" y="161"/>
                    <a:pt x="24" y="139"/>
                    <a:pt x="24" y="101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89"/>
                    <a:pt x="67" y="89"/>
                    <a:pt x="67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98" y="24"/>
                    <a:pt x="98" y="24"/>
                    <a:pt x="98" y="24"/>
                  </a:cubicBezTo>
                  <a:lnTo>
                    <a:pt x="98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114300" tIns="57150" rIns="114300" bIns="57150"/>
            <a:lstStyle/>
            <a:p>
              <a:pPr defTabSz="11430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250">
                <a:latin typeface="+mn-lt"/>
                <a:cs typeface="+mn-cs"/>
              </a:endParaRPr>
            </a:p>
          </p:txBody>
        </p:sp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065" name="Θέση αριθμού διαφάνειας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ts val="900"/>
            </a:pPr>
            <a:fld id="{82EC54A5-F553-4301-9191-4A09B0452895}" type="slidenum">
              <a: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ts val="900"/>
              </a:pPr>
              <a:t>13</a:t>
            </a:fld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5" name="Rectangle: Diagonal Corners Snipped 10">
            <a:extLst>
              <a:ext uri="{FF2B5EF4-FFF2-40B4-BE49-F238E27FC236}"/>
            </a:extLst>
          </p:cNvPr>
          <p:cNvSpPr/>
          <p:nvPr/>
        </p:nvSpPr>
        <p:spPr>
          <a:xfrm>
            <a:off x="425450" y="547688"/>
            <a:ext cx="10987088" cy="874712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4</a:t>
            </a:r>
            <a:r>
              <a:rPr lang="en-GB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o 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Στάδιο – </a:t>
            </a:r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25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 Μαΐου</a:t>
            </a:r>
          </a:p>
        </p:txBody>
      </p:sp>
      <p:sp>
        <p:nvSpPr>
          <p:cNvPr id="344067" name="3 - TextBox"/>
          <p:cNvSpPr txBox="1">
            <a:spLocks noChangeArrowheads="1"/>
          </p:cNvSpPr>
          <p:nvPr/>
        </p:nvSpPr>
        <p:spPr bwMode="auto">
          <a:xfrm>
            <a:off x="555625" y="1568450"/>
            <a:ext cx="10728325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2000" b="1">
                <a:solidFill>
                  <a:srgbClr val="002060"/>
                </a:solidFill>
                <a:latin typeface="Calibri" pitchFamily="34" charset="0"/>
              </a:rPr>
              <a:t>Δυνατότητα ανάπτυξης τραπεζοκαθισμάτων</a:t>
            </a:r>
          </a:p>
          <a:p>
            <a:r>
              <a:rPr lang="el-GR" sz="1600">
                <a:solidFill>
                  <a:srgbClr val="002060"/>
                </a:solidFill>
                <a:latin typeface="Calibri" pitchFamily="34" charset="0"/>
              </a:rPr>
              <a:t>Παράρτημα 1: Χώρος εστίασης με πλευρά πλάτους (Π) και άνοιγμα ύψους (Υ) ≥ 2 μέτρα</a:t>
            </a:r>
          </a:p>
        </p:txBody>
      </p:sp>
      <p:pic>
        <p:nvPicPr>
          <p:cNvPr id="344068" name="Εικόνα 7"/>
          <p:cNvPicPr>
            <a:picLocks noChangeAspect="1"/>
          </p:cNvPicPr>
          <p:nvPr/>
        </p:nvPicPr>
        <p:blipFill>
          <a:blip r:embed="rId2"/>
          <a:srcRect t="3960"/>
          <a:stretch>
            <a:fillRect/>
          </a:stretch>
        </p:blipFill>
        <p:spPr bwMode="auto">
          <a:xfrm>
            <a:off x="1427163" y="2325688"/>
            <a:ext cx="8556625" cy="423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089" name="Θέση αριθμού διαφάνειας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ts val="900"/>
            </a:pPr>
            <a:fld id="{2B3639D3-DBCC-4416-BAAC-3D405370328F}" type="slidenum">
              <a: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ts val="900"/>
              </a:pPr>
              <a:t>14</a:t>
            </a:fld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5" name="Rectangle: Diagonal Corners Snipped 10">
            <a:extLst>
              <a:ext uri="{FF2B5EF4-FFF2-40B4-BE49-F238E27FC236}"/>
            </a:extLst>
          </p:cNvPr>
          <p:cNvSpPr/>
          <p:nvPr/>
        </p:nvSpPr>
        <p:spPr>
          <a:xfrm>
            <a:off x="425450" y="547688"/>
            <a:ext cx="10987088" cy="874712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4</a:t>
            </a:r>
            <a:r>
              <a:rPr lang="en-GB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o 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Στάδιο – </a:t>
            </a:r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25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 Μαΐου</a:t>
            </a:r>
          </a:p>
        </p:txBody>
      </p:sp>
      <p:sp>
        <p:nvSpPr>
          <p:cNvPr id="345091" name="3 - TextBox"/>
          <p:cNvSpPr txBox="1">
            <a:spLocks noChangeArrowheads="1"/>
          </p:cNvSpPr>
          <p:nvPr/>
        </p:nvSpPr>
        <p:spPr bwMode="auto">
          <a:xfrm>
            <a:off x="555625" y="1568450"/>
            <a:ext cx="10728325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2000" b="1">
                <a:solidFill>
                  <a:srgbClr val="002060"/>
                </a:solidFill>
                <a:latin typeface="Calibri" pitchFamily="34" charset="0"/>
              </a:rPr>
              <a:t>Δυνατότητα ανάπτυξης τραπεζοκαθισμάτων</a:t>
            </a:r>
          </a:p>
          <a:p>
            <a:r>
              <a:rPr lang="el-GR" sz="1600">
                <a:solidFill>
                  <a:srgbClr val="002060"/>
                </a:solidFill>
                <a:latin typeface="Calibri" pitchFamily="34" charset="0"/>
              </a:rPr>
              <a:t>Παράρτημα 2: Χώρος εστίασης με πλευρά πλάτους (Π) και άνοιγμα ύψους (Υ) ≥ 1 μέτρο</a:t>
            </a:r>
          </a:p>
        </p:txBody>
      </p:sp>
      <p:pic>
        <p:nvPicPr>
          <p:cNvPr id="345092" name="Εικόνα 6"/>
          <p:cNvPicPr>
            <a:picLocks noChangeAspect="1"/>
          </p:cNvPicPr>
          <p:nvPr/>
        </p:nvPicPr>
        <p:blipFill>
          <a:blip r:embed="rId2"/>
          <a:srcRect t="5801"/>
          <a:stretch>
            <a:fillRect/>
          </a:stretch>
        </p:blipFill>
        <p:spPr bwMode="auto">
          <a:xfrm>
            <a:off x="1274763" y="2276475"/>
            <a:ext cx="8858250" cy="4284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113" name="Θέση αριθμού διαφάνειας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ts val="900"/>
            </a:pPr>
            <a:fld id="{76E1651B-7240-4659-8D31-00CFF0856BC9}" type="slidenum">
              <a: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ts val="900"/>
              </a:pPr>
              <a:t>15</a:t>
            </a:fld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5" name="Rectangle: Diagonal Corners Snipped 10">
            <a:extLst>
              <a:ext uri="{FF2B5EF4-FFF2-40B4-BE49-F238E27FC236}"/>
            </a:extLst>
          </p:cNvPr>
          <p:cNvSpPr/>
          <p:nvPr/>
        </p:nvSpPr>
        <p:spPr>
          <a:xfrm>
            <a:off x="425450" y="547688"/>
            <a:ext cx="10987088" cy="874712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4</a:t>
            </a:r>
            <a:r>
              <a:rPr lang="en-GB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o 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Στάδιο – </a:t>
            </a:r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25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 Μαΐου</a:t>
            </a:r>
          </a:p>
        </p:txBody>
      </p:sp>
      <p:sp>
        <p:nvSpPr>
          <p:cNvPr id="346115" name="3 - TextBox"/>
          <p:cNvSpPr txBox="1">
            <a:spLocks noChangeArrowheads="1"/>
          </p:cNvSpPr>
          <p:nvPr/>
        </p:nvSpPr>
        <p:spPr bwMode="auto">
          <a:xfrm>
            <a:off x="555625" y="1568450"/>
            <a:ext cx="10728325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2000" b="1">
                <a:solidFill>
                  <a:srgbClr val="002060"/>
                </a:solidFill>
                <a:latin typeface="Calibri" pitchFamily="34" charset="0"/>
              </a:rPr>
              <a:t>Δυνατότητα ανάπτυξης τραπεζοκαθισμάτων</a:t>
            </a:r>
          </a:p>
          <a:p>
            <a:r>
              <a:rPr lang="el-GR" sz="1600">
                <a:solidFill>
                  <a:srgbClr val="002060"/>
                </a:solidFill>
                <a:latin typeface="Calibri" pitchFamily="34" charset="0"/>
              </a:rPr>
              <a:t>Παράρτημα 3: Περίπτωση χώρου εστίασης με ανοίγματα σε δύο πλευρές</a:t>
            </a:r>
          </a:p>
        </p:txBody>
      </p:sp>
      <p:pic>
        <p:nvPicPr>
          <p:cNvPr id="346116" name="Εικόνα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576513" y="2357438"/>
            <a:ext cx="6961187" cy="399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137" name="Θέση αριθμού διαφάνειας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ts val="900"/>
            </a:pPr>
            <a:fld id="{077EA6AA-0EE5-4CD7-B011-A4C2A80821A5}" type="slidenum">
              <a: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ts val="900"/>
              </a:pPr>
              <a:t>16</a:t>
            </a:fld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5" name="Rectangle: Diagonal Corners Snipped 10">
            <a:extLst>
              <a:ext uri="{FF2B5EF4-FFF2-40B4-BE49-F238E27FC236}"/>
            </a:extLst>
          </p:cNvPr>
          <p:cNvSpPr/>
          <p:nvPr/>
        </p:nvSpPr>
        <p:spPr>
          <a:xfrm>
            <a:off x="425450" y="547688"/>
            <a:ext cx="10987088" cy="874712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4</a:t>
            </a:r>
            <a:r>
              <a:rPr lang="en-GB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o 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Στάδιο – </a:t>
            </a:r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25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 Μαΐου</a:t>
            </a:r>
          </a:p>
        </p:txBody>
      </p:sp>
      <p:sp>
        <p:nvSpPr>
          <p:cNvPr id="347139" name="3 - TextBox"/>
          <p:cNvSpPr txBox="1">
            <a:spLocks noChangeArrowheads="1"/>
          </p:cNvSpPr>
          <p:nvPr/>
        </p:nvSpPr>
        <p:spPr bwMode="auto">
          <a:xfrm>
            <a:off x="555625" y="1568450"/>
            <a:ext cx="107283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2000" b="1">
                <a:solidFill>
                  <a:srgbClr val="002060"/>
                </a:solidFill>
                <a:latin typeface="Calibri" pitchFamily="34" charset="0"/>
              </a:rPr>
              <a:t>Προϋποθέσεις λειτουργίας καταστημάτων υγειονομικού ενδιαφέροντος </a:t>
            </a:r>
          </a:p>
        </p:txBody>
      </p:sp>
      <p:sp>
        <p:nvSpPr>
          <p:cNvPr id="7" name="TextBox 17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463675" y="2570163"/>
            <a:ext cx="1179513" cy="380682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10</a:t>
            </a: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56.30</a:t>
            </a: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" name="TextBox 18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701925" y="3422650"/>
            <a:ext cx="7588250" cy="2954338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anchor="ctr"/>
          <a:lstStyle/>
          <a:p>
            <a:pPr marL="177800" indent="-177800">
              <a:spcBef>
                <a:spcPts val="1200"/>
              </a:spcBef>
              <a:buFont typeface="Wingdings" pitchFamily="2" charset="2"/>
              <a:buChar char="q"/>
            </a:pPr>
            <a:endParaRPr lang="el-GR" sz="1400">
              <a:latin typeface="Calibri" pitchFamily="34" charset="0"/>
              <a:ea typeface="Geneva"/>
              <a:cs typeface="Geneva"/>
            </a:endParaRPr>
          </a:p>
          <a:p>
            <a:pPr marL="177800" indent="-17780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q"/>
            </a:pPr>
            <a:r>
              <a:rPr lang="el-GR" sz="1400">
                <a:latin typeface="Calibri" pitchFamily="34" charset="0"/>
                <a:ea typeface="Geneva"/>
                <a:cs typeface="Geneva"/>
              </a:rPr>
              <a:t>Καθορίζεται ως ελάχιστη απόσταση μεταξύ των τραπεζιών σύμφωνα με την διάταξη των καθισμάτων  ως εξής :</a:t>
            </a:r>
          </a:p>
          <a:p>
            <a:pPr marL="0" lvl="1">
              <a:spcBef>
                <a:spcPts val="1200"/>
              </a:spcBef>
            </a:pPr>
            <a:r>
              <a:rPr lang="el-GR" sz="1400" b="1">
                <a:latin typeface="Calibri" pitchFamily="34" charset="0"/>
              </a:rPr>
              <a:t>α. </a:t>
            </a:r>
            <a:r>
              <a:rPr lang="el-GR" sz="1400">
                <a:latin typeface="Calibri" pitchFamily="34" charset="0"/>
              </a:rPr>
              <a:t>Όταν στον ενδιάμεσο χώρο μεταξύ δύο παράπλευρων τραπεζιών </a:t>
            </a:r>
            <a:r>
              <a:rPr lang="el-GR" sz="1400" b="1">
                <a:latin typeface="Calibri" pitchFamily="34" charset="0"/>
              </a:rPr>
              <a:t>δεν τοποθετείται καρέκλα σε κανένα εκ των δύο </a:t>
            </a:r>
            <a:r>
              <a:rPr lang="el-GR" sz="1400">
                <a:latin typeface="Calibri" pitchFamily="34" charset="0"/>
              </a:rPr>
              <a:t>τότε η ελάχιστη απόσταση μεταξύ αυτών ορίζεται στα </a:t>
            </a:r>
            <a:r>
              <a:rPr lang="el-GR" sz="1400" b="1">
                <a:latin typeface="Calibri" pitchFamily="34" charset="0"/>
              </a:rPr>
              <a:t>0,70 μ.</a:t>
            </a:r>
            <a:r>
              <a:rPr lang="el-GR" sz="1400">
                <a:solidFill>
                  <a:srgbClr val="072C62"/>
                </a:solidFill>
                <a:latin typeface="Calibri" pitchFamily="34" charset="0"/>
              </a:rPr>
              <a:t> (Παράρτημα 4)</a:t>
            </a:r>
            <a:endParaRPr lang="el-GR" sz="1400" b="1">
              <a:latin typeface="Calibri" pitchFamily="34" charset="0"/>
            </a:endParaRPr>
          </a:p>
          <a:p>
            <a:pPr marL="0" lvl="1">
              <a:spcBef>
                <a:spcPts val="1200"/>
              </a:spcBef>
            </a:pPr>
            <a:r>
              <a:rPr lang="el-GR" sz="1400" b="1">
                <a:latin typeface="Calibri" pitchFamily="34" charset="0"/>
              </a:rPr>
              <a:t>β.</a:t>
            </a:r>
            <a:r>
              <a:rPr lang="el-GR" sz="1400">
                <a:latin typeface="Calibri" pitchFamily="34" charset="0"/>
              </a:rPr>
              <a:t> Όταν στον ενδιάμεσο χώρο μεταξύ δύο παράπλευρων τραπεζιών </a:t>
            </a:r>
            <a:r>
              <a:rPr lang="el-GR" sz="1400" b="1">
                <a:latin typeface="Calibri" pitchFamily="34" charset="0"/>
              </a:rPr>
              <a:t>τοποθετείται καρέκλα σε ένα εκ των δύο</a:t>
            </a:r>
            <a:r>
              <a:rPr lang="el-GR" sz="1400">
                <a:latin typeface="Calibri" pitchFamily="34" charset="0"/>
              </a:rPr>
              <a:t> τότε η ελάχιστη απόσταση μεταξύ αυτών ορίζεται στα </a:t>
            </a:r>
            <a:r>
              <a:rPr lang="el-GR" sz="1400" b="1">
                <a:latin typeface="Calibri" pitchFamily="34" charset="0"/>
              </a:rPr>
              <a:t>1,10 μ. </a:t>
            </a:r>
            <a:r>
              <a:rPr lang="el-GR" sz="1400">
                <a:solidFill>
                  <a:srgbClr val="072C62"/>
                </a:solidFill>
                <a:latin typeface="Calibri" pitchFamily="34" charset="0"/>
              </a:rPr>
              <a:t>(Παράρτημα 5)</a:t>
            </a:r>
            <a:endParaRPr lang="el-GR" sz="1400" b="1">
              <a:latin typeface="Calibri" pitchFamily="34" charset="0"/>
            </a:endParaRPr>
          </a:p>
          <a:p>
            <a:pPr marL="0" lvl="1">
              <a:spcBef>
                <a:spcPts val="1200"/>
              </a:spcBef>
            </a:pPr>
            <a:r>
              <a:rPr lang="el-GR" sz="1400" b="1">
                <a:latin typeface="Calibri" pitchFamily="34" charset="0"/>
              </a:rPr>
              <a:t>γ. </a:t>
            </a:r>
            <a:r>
              <a:rPr lang="el-GR" sz="1400">
                <a:latin typeface="Calibri" pitchFamily="34" charset="0"/>
              </a:rPr>
              <a:t>Όταν στον ενδιάμεσο χώρο μεταξύ δύο παράπλευρων τραπεζιών τοποθετείται </a:t>
            </a:r>
            <a:r>
              <a:rPr lang="el-GR" sz="1400" b="1">
                <a:latin typeface="Calibri" pitchFamily="34" charset="0"/>
              </a:rPr>
              <a:t>καρέκλα σε κάθε ένα εκ των δύο </a:t>
            </a:r>
            <a:r>
              <a:rPr lang="el-GR" sz="1400">
                <a:latin typeface="Calibri" pitchFamily="34" charset="0"/>
              </a:rPr>
              <a:t>τότε η ελάχιστη απόσταση μεταξύ αυτών ορίζεται στα </a:t>
            </a:r>
            <a:r>
              <a:rPr lang="el-GR" sz="1400" b="1">
                <a:latin typeface="Calibri" pitchFamily="34" charset="0"/>
              </a:rPr>
              <a:t>1,70 μ. </a:t>
            </a:r>
            <a:r>
              <a:rPr lang="el-GR" sz="1400">
                <a:solidFill>
                  <a:srgbClr val="072C62"/>
                </a:solidFill>
                <a:latin typeface="Calibri" pitchFamily="34" charset="0"/>
              </a:rPr>
              <a:t>(Παράρτημα 6)</a:t>
            </a:r>
            <a:endParaRPr lang="el-GR" sz="1400" b="1">
              <a:latin typeface="Calibri" pitchFamily="34" charset="0"/>
            </a:endParaRPr>
          </a:p>
          <a:p>
            <a:pPr marL="0" lvl="1">
              <a:spcBef>
                <a:spcPct val="20000"/>
              </a:spcBef>
            </a:pPr>
            <a:endParaRPr lang="el-GR" sz="1400" b="1">
              <a:latin typeface="Calibri" pitchFamily="34" charset="0"/>
            </a:endParaRPr>
          </a:p>
          <a:p>
            <a:pPr marL="0" lvl="1">
              <a:spcBef>
                <a:spcPct val="20000"/>
              </a:spcBef>
            </a:pPr>
            <a:endParaRPr lang="el-GR" sz="1400" b="1">
              <a:latin typeface="Calibri" pitchFamily="34" charset="0"/>
            </a:endParaRPr>
          </a:p>
        </p:txBody>
      </p:sp>
      <p:sp>
        <p:nvSpPr>
          <p:cNvPr id="10" name="TextBox 66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692400" y="2122488"/>
            <a:ext cx="7597775" cy="414337"/>
          </a:xfrm>
          <a:prstGeom prst="rect">
            <a:avLst/>
          </a:prstGeom>
          <a:ln/>
          <a:extLst>
            <a:ext uri="{FAA26D3D-D897-4be2-8F04-BA451C77F1D7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25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600" b="1" dirty="0" smtClean="0">
                <a:solidFill>
                  <a:schemeClr val="bg1"/>
                </a:solidFill>
              </a:rPr>
              <a:t>Ειδικές Διατάξεις </a:t>
            </a:r>
            <a:r>
              <a:rPr lang="el-GR" sz="1600" b="1" dirty="0">
                <a:solidFill>
                  <a:schemeClr val="bg1"/>
                </a:solidFill>
              </a:rPr>
              <a:t>Α</a:t>
            </a:r>
            <a:r>
              <a:rPr lang="el-GR" sz="1600" b="1" dirty="0" smtClean="0">
                <a:solidFill>
                  <a:schemeClr val="bg1"/>
                </a:solidFill>
              </a:rPr>
              <a:t>νάπτυξης Τραπεζοκαθισμάτων</a:t>
            </a:r>
          </a:p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1" name="TextBox 67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463675" y="2112963"/>
            <a:ext cx="1181100" cy="42386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5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      ΚΑΔ</a:t>
            </a:r>
            <a:endParaRPr lang="el-GR" sz="1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2" name="TextBox 16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692400" y="2587625"/>
            <a:ext cx="7572375" cy="77787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400" dirty="0" smtClean="0">
                <a:cs typeface="+mn-cs"/>
              </a:rPr>
              <a:t>Ορίζοντα </a:t>
            </a:r>
            <a:r>
              <a:rPr lang="el-GR" sz="1400" dirty="0">
                <a:cs typeface="+mn-cs"/>
              </a:rPr>
              <a:t>τα </a:t>
            </a:r>
            <a:r>
              <a:rPr lang="el-GR" sz="1400" dirty="0" smtClean="0">
                <a:cs typeface="+mn-cs"/>
              </a:rPr>
              <a:t>έξι </a:t>
            </a:r>
            <a:r>
              <a:rPr lang="el-GR" sz="1400" b="1" dirty="0">
                <a:cs typeface="+mn-cs"/>
              </a:rPr>
              <a:t>(6) άτομα ως ο μέγιστος αριθμός καθήμενων ατόμων σε ένα τραπέζι</a:t>
            </a:r>
            <a:r>
              <a:rPr lang="el-GR" sz="1400" dirty="0">
                <a:cs typeface="+mn-cs"/>
              </a:rPr>
              <a:t>. </a:t>
            </a:r>
            <a:endParaRPr lang="el-GR" sz="1400" dirty="0" smtClean="0">
              <a:cs typeface="+mn-cs"/>
            </a:endParaRPr>
          </a:p>
          <a:p>
            <a:pPr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400" dirty="0" smtClean="0">
                <a:cs typeface="+mn-cs"/>
              </a:rPr>
              <a:t>Δεν </a:t>
            </a:r>
            <a:r>
              <a:rPr lang="el-GR" sz="1400" dirty="0">
                <a:cs typeface="+mn-cs"/>
              </a:rPr>
              <a:t>υφίσταται όριο σε περίπτωση οικογένειας με ανήλικα τέκνα</a:t>
            </a:r>
            <a:r>
              <a:rPr lang="el-GR" sz="1400" dirty="0" smtClean="0">
                <a:cs typeface="+mn-cs"/>
              </a:rPr>
              <a:t>.</a:t>
            </a:r>
            <a:endParaRPr lang="el-GR" sz="1400" dirty="0">
              <a:cs typeface="+mn-cs"/>
            </a:endParaRPr>
          </a:p>
        </p:txBody>
      </p:sp>
      <p:grpSp>
        <p:nvGrpSpPr>
          <p:cNvPr id="13" name="Group 9">
            <a:extLst>
              <a:ext uri="{FF2B5EF4-FFF2-40B4-BE49-F238E27FC236}"/>
            </a:extLst>
          </p:cNvPr>
          <p:cNvGrpSpPr>
            <a:grpSpLocks noChangeAspect="1"/>
          </p:cNvGrpSpPr>
          <p:nvPr/>
        </p:nvGrpSpPr>
        <p:grpSpPr>
          <a:xfrm>
            <a:off x="1777402" y="3391207"/>
            <a:ext cx="552161" cy="559331"/>
            <a:chOff x="2424113" y="1219200"/>
            <a:chExt cx="122238" cy="123825"/>
          </a:xfrm>
          <a:solidFill>
            <a:schemeClr val="bg1"/>
          </a:solidFill>
        </p:grpSpPr>
        <p:sp>
          <p:nvSpPr>
            <p:cNvPr id="14" name="Freeform 93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2424113" y="1219200"/>
              <a:ext cx="122238" cy="123825"/>
            </a:xfrm>
            <a:custGeom>
              <a:avLst/>
              <a:gdLst>
                <a:gd name="T0" fmla="*/ 0 w 77"/>
                <a:gd name="T1" fmla="*/ 0 h 78"/>
                <a:gd name="T2" fmla="*/ 0 w 77"/>
                <a:gd name="T3" fmla="*/ 78 h 78"/>
                <a:gd name="T4" fmla="*/ 77 w 77"/>
                <a:gd name="T5" fmla="*/ 78 h 78"/>
                <a:gd name="T6" fmla="*/ 77 w 77"/>
                <a:gd name="T7" fmla="*/ 0 h 78"/>
                <a:gd name="T8" fmla="*/ 0 w 77"/>
                <a:gd name="T9" fmla="*/ 0 h 78"/>
                <a:gd name="T10" fmla="*/ 74 w 77"/>
                <a:gd name="T11" fmla="*/ 74 h 78"/>
                <a:gd name="T12" fmla="*/ 3 w 77"/>
                <a:gd name="T13" fmla="*/ 74 h 78"/>
                <a:gd name="T14" fmla="*/ 3 w 77"/>
                <a:gd name="T15" fmla="*/ 3 h 78"/>
                <a:gd name="T16" fmla="*/ 74 w 77"/>
                <a:gd name="T17" fmla="*/ 3 h 78"/>
                <a:gd name="T18" fmla="*/ 74 w 77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8">
                  <a:moveTo>
                    <a:pt x="0" y="0"/>
                  </a:moveTo>
                  <a:lnTo>
                    <a:pt x="0" y="78"/>
                  </a:lnTo>
                  <a:lnTo>
                    <a:pt x="77" y="78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114300" tIns="57150" rIns="114300" bIns="57150"/>
            <a:lstStyle/>
            <a:p>
              <a:pPr defTabSz="11430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250">
                <a:latin typeface="+mn-lt"/>
                <a:cs typeface="+mn-cs"/>
              </a:endParaRPr>
            </a:p>
          </p:txBody>
        </p:sp>
        <p:sp>
          <p:nvSpPr>
            <p:cNvPr id="15" name="Freeform 94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2501900" y="1244600"/>
              <a:ext cx="25400" cy="82550"/>
            </a:xfrm>
            <a:custGeom>
              <a:avLst/>
              <a:gdLst>
                <a:gd name="T0" fmla="*/ 113 w 113"/>
                <a:gd name="T1" fmla="*/ 93 h 381"/>
                <a:gd name="T2" fmla="*/ 57 w 113"/>
                <a:gd name="T3" fmla="*/ 0 h 381"/>
                <a:gd name="T4" fmla="*/ 0 w 113"/>
                <a:gd name="T5" fmla="*/ 93 h 381"/>
                <a:gd name="T6" fmla="*/ 24 w 113"/>
                <a:gd name="T7" fmla="*/ 158 h 381"/>
                <a:gd name="T8" fmla="*/ 24 w 113"/>
                <a:gd name="T9" fmla="*/ 381 h 381"/>
                <a:gd name="T10" fmla="*/ 90 w 113"/>
                <a:gd name="T11" fmla="*/ 381 h 381"/>
                <a:gd name="T12" fmla="*/ 90 w 113"/>
                <a:gd name="T13" fmla="*/ 158 h 381"/>
                <a:gd name="T14" fmla="*/ 113 w 113"/>
                <a:gd name="T15" fmla="*/ 93 h 381"/>
                <a:gd name="T16" fmla="*/ 57 w 113"/>
                <a:gd name="T17" fmla="*/ 24 h 381"/>
                <a:gd name="T18" fmla="*/ 89 w 113"/>
                <a:gd name="T19" fmla="*/ 93 h 381"/>
                <a:gd name="T20" fmla="*/ 57 w 113"/>
                <a:gd name="T21" fmla="*/ 146 h 381"/>
                <a:gd name="T22" fmla="*/ 25 w 113"/>
                <a:gd name="T23" fmla="*/ 93 h 381"/>
                <a:gd name="T24" fmla="*/ 57 w 113"/>
                <a:gd name="T25" fmla="*/ 24 h 381"/>
                <a:gd name="T26" fmla="*/ 65 w 113"/>
                <a:gd name="T27" fmla="*/ 357 h 381"/>
                <a:gd name="T28" fmla="*/ 48 w 113"/>
                <a:gd name="T29" fmla="*/ 357 h 381"/>
                <a:gd name="T30" fmla="*/ 48 w 113"/>
                <a:gd name="T31" fmla="*/ 170 h 381"/>
                <a:gd name="T32" fmla="*/ 57 w 113"/>
                <a:gd name="T33" fmla="*/ 170 h 381"/>
                <a:gd name="T34" fmla="*/ 65 w 113"/>
                <a:gd name="T35" fmla="*/ 170 h 381"/>
                <a:gd name="T36" fmla="*/ 65 w 113"/>
                <a:gd name="T37" fmla="*/ 357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3" h="381">
                  <a:moveTo>
                    <a:pt x="113" y="93"/>
                  </a:moveTo>
                  <a:cubicBezTo>
                    <a:pt x="113" y="40"/>
                    <a:pt x="89" y="0"/>
                    <a:pt x="57" y="0"/>
                  </a:cubicBezTo>
                  <a:cubicBezTo>
                    <a:pt x="25" y="0"/>
                    <a:pt x="0" y="40"/>
                    <a:pt x="0" y="93"/>
                  </a:cubicBezTo>
                  <a:cubicBezTo>
                    <a:pt x="0" y="117"/>
                    <a:pt x="7" y="143"/>
                    <a:pt x="24" y="158"/>
                  </a:cubicBezTo>
                  <a:cubicBezTo>
                    <a:pt x="24" y="381"/>
                    <a:pt x="24" y="381"/>
                    <a:pt x="24" y="381"/>
                  </a:cubicBezTo>
                  <a:cubicBezTo>
                    <a:pt x="90" y="381"/>
                    <a:pt x="90" y="381"/>
                    <a:pt x="90" y="381"/>
                  </a:cubicBezTo>
                  <a:cubicBezTo>
                    <a:pt x="90" y="158"/>
                    <a:pt x="90" y="158"/>
                    <a:pt x="90" y="158"/>
                  </a:cubicBezTo>
                  <a:cubicBezTo>
                    <a:pt x="107" y="143"/>
                    <a:pt x="113" y="117"/>
                    <a:pt x="113" y="93"/>
                  </a:cubicBezTo>
                  <a:close/>
                  <a:moveTo>
                    <a:pt x="57" y="24"/>
                  </a:moveTo>
                  <a:cubicBezTo>
                    <a:pt x="72" y="24"/>
                    <a:pt x="89" y="53"/>
                    <a:pt x="89" y="93"/>
                  </a:cubicBezTo>
                  <a:cubicBezTo>
                    <a:pt x="89" y="126"/>
                    <a:pt x="77" y="146"/>
                    <a:pt x="57" y="146"/>
                  </a:cubicBezTo>
                  <a:cubicBezTo>
                    <a:pt x="37" y="146"/>
                    <a:pt x="25" y="126"/>
                    <a:pt x="25" y="93"/>
                  </a:cubicBezTo>
                  <a:cubicBezTo>
                    <a:pt x="25" y="53"/>
                    <a:pt x="42" y="24"/>
                    <a:pt x="57" y="24"/>
                  </a:cubicBezTo>
                  <a:close/>
                  <a:moveTo>
                    <a:pt x="65" y="357"/>
                  </a:moveTo>
                  <a:cubicBezTo>
                    <a:pt x="48" y="357"/>
                    <a:pt x="48" y="357"/>
                    <a:pt x="48" y="357"/>
                  </a:cubicBezTo>
                  <a:cubicBezTo>
                    <a:pt x="48" y="170"/>
                    <a:pt x="48" y="170"/>
                    <a:pt x="48" y="170"/>
                  </a:cubicBezTo>
                  <a:cubicBezTo>
                    <a:pt x="51" y="170"/>
                    <a:pt x="54" y="170"/>
                    <a:pt x="57" y="170"/>
                  </a:cubicBezTo>
                  <a:cubicBezTo>
                    <a:pt x="60" y="170"/>
                    <a:pt x="63" y="170"/>
                    <a:pt x="65" y="170"/>
                  </a:cubicBezTo>
                  <a:lnTo>
                    <a:pt x="65" y="3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114300" tIns="57150" rIns="114300" bIns="57150"/>
            <a:lstStyle/>
            <a:p>
              <a:pPr defTabSz="11430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250">
                <a:latin typeface="+mn-lt"/>
                <a:cs typeface="+mn-cs"/>
              </a:endParaRPr>
            </a:p>
          </p:txBody>
        </p:sp>
        <p:sp>
          <p:nvSpPr>
            <p:cNvPr id="16" name="Freeform 95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2476500" y="1233488"/>
              <a:ext cx="17463" cy="93663"/>
            </a:xfrm>
            <a:custGeom>
              <a:avLst/>
              <a:gdLst>
                <a:gd name="T0" fmla="*/ 72 w 84"/>
                <a:gd name="T1" fmla="*/ 0 h 433"/>
                <a:gd name="T2" fmla="*/ 1 w 84"/>
                <a:gd name="T3" fmla="*/ 81 h 433"/>
                <a:gd name="T4" fmla="*/ 0 w 84"/>
                <a:gd name="T5" fmla="*/ 224 h 433"/>
                <a:gd name="T6" fmla="*/ 0 w 84"/>
                <a:gd name="T7" fmla="*/ 236 h 433"/>
                <a:gd name="T8" fmla="*/ 18 w 84"/>
                <a:gd name="T9" fmla="*/ 236 h 433"/>
                <a:gd name="T10" fmla="*/ 18 w 84"/>
                <a:gd name="T11" fmla="*/ 433 h 433"/>
                <a:gd name="T12" fmla="*/ 84 w 84"/>
                <a:gd name="T13" fmla="*/ 433 h 433"/>
                <a:gd name="T14" fmla="*/ 84 w 84"/>
                <a:gd name="T15" fmla="*/ 235 h 433"/>
                <a:gd name="T16" fmla="*/ 84 w 84"/>
                <a:gd name="T17" fmla="*/ 141 h 433"/>
                <a:gd name="T18" fmla="*/ 84 w 84"/>
                <a:gd name="T19" fmla="*/ 0 h 433"/>
                <a:gd name="T20" fmla="*/ 72 w 84"/>
                <a:gd name="T21" fmla="*/ 0 h 433"/>
                <a:gd name="T22" fmla="*/ 25 w 84"/>
                <a:gd name="T23" fmla="*/ 81 h 433"/>
                <a:gd name="T24" fmla="*/ 59 w 84"/>
                <a:gd name="T25" fmla="*/ 26 h 433"/>
                <a:gd name="T26" fmla="*/ 59 w 84"/>
                <a:gd name="T27" fmla="*/ 211 h 433"/>
                <a:gd name="T28" fmla="*/ 25 w 84"/>
                <a:gd name="T29" fmla="*/ 211 h 433"/>
                <a:gd name="T30" fmla="*/ 25 w 84"/>
                <a:gd name="T31" fmla="*/ 81 h 433"/>
                <a:gd name="T32" fmla="*/ 59 w 84"/>
                <a:gd name="T33" fmla="*/ 409 h 433"/>
                <a:gd name="T34" fmla="*/ 42 w 84"/>
                <a:gd name="T35" fmla="*/ 409 h 433"/>
                <a:gd name="T36" fmla="*/ 42 w 84"/>
                <a:gd name="T37" fmla="*/ 236 h 433"/>
                <a:gd name="T38" fmla="*/ 59 w 84"/>
                <a:gd name="T39" fmla="*/ 235 h 433"/>
                <a:gd name="T40" fmla="*/ 59 w 84"/>
                <a:gd name="T41" fmla="*/ 40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433">
                  <a:moveTo>
                    <a:pt x="72" y="0"/>
                  </a:moveTo>
                  <a:cubicBezTo>
                    <a:pt x="33" y="0"/>
                    <a:pt x="1" y="37"/>
                    <a:pt x="1" y="81"/>
                  </a:cubicBezTo>
                  <a:cubicBezTo>
                    <a:pt x="1" y="120"/>
                    <a:pt x="0" y="223"/>
                    <a:pt x="0" y="224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8" y="433"/>
                    <a:pt x="18" y="433"/>
                    <a:pt x="18" y="433"/>
                  </a:cubicBezTo>
                  <a:cubicBezTo>
                    <a:pt x="84" y="433"/>
                    <a:pt x="84" y="433"/>
                    <a:pt x="84" y="433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141"/>
                    <a:pt x="84" y="141"/>
                    <a:pt x="84" y="141"/>
                  </a:cubicBezTo>
                  <a:cubicBezTo>
                    <a:pt x="84" y="0"/>
                    <a:pt x="84" y="0"/>
                    <a:pt x="84" y="0"/>
                  </a:cubicBezTo>
                  <a:lnTo>
                    <a:pt x="72" y="0"/>
                  </a:lnTo>
                  <a:close/>
                  <a:moveTo>
                    <a:pt x="25" y="81"/>
                  </a:moveTo>
                  <a:cubicBezTo>
                    <a:pt x="25" y="56"/>
                    <a:pt x="40" y="33"/>
                    <a:pt x="59" y="26"/>
                  </a:cubicBezTo>
                  <a:cubicBezTo>
                    <a:pt x="59" y="211"/>
                    <a:pt x="59" y="211"/>
                    <a:pt x="59" y="211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182"/>
                    <a:pt x="25" y="112"/>
                    <a:pt x="25" y="81"/>
                  </a:cubicBezTo>
                  <a:close/>
                  <a:moveTo>
                    <a:pt x="59" y="409"/>
                  </a:moveTo>
                  <a:cubicBezTo>
                    <a:pt x="42" y="409"/>
                    <a:pt x="42" y="409"/>
                    <a:pt x="42" y="409"/>
                  </a:cubicBezTo>
                  <a:cubicBezTo>
                    <a:pt x="42" y="236"/>
                    <a:pt x="42" y="236"/>
                    <a:pt x="42" y="236"/>
                  </a:cubicBezTo>
                  <a:cubicBezTo>
                    <a:pt x="59" y="235"/>
                    <a:pt x="59" y="235"/>
                    <a:pt x="59" y="235"/>
                  </a:cubicBezTo>
                  <a:lnTo>
                    <a:pt x="59" y="4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114300" tIns="57150" rIns="114300" bIns="57150"/>
            <a:lstStyle/>
            <a:p>
              <a:pPr defTabSz="11430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250">
                <a:latin typeface="+mn-lt"/>
                <a:cs typeface="+mn-cs"/>
              </a:endParaRPr>
            </a:p>
          </p:txBody>
        </p:sp>
        <p:sp>
          <p:nvSpPr>
            <p:cNvPr id="17" name="Freeform 96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2443163" y="1244600"/>
              <a:ext cx="25400" cy="82550"/>
            </a:xfrm>
            <a:custGeom>
              <a:avLst/>
              <a:gdLst>
                <a:gd name="T0" fmla="*/ 0 w 122"/>
                <a:gd name="T1" fmla="*/ 0 h 381"/>
                <a:gd name="T2" fmla="*/ 0 w 122"/>
                <a:gd name="T3" fmla="*/ 101 h 381"/>
                <a:gd name="T4" fmla="*/ 28 w 122"/>
                <a:gd name="T5" fmla="*/ 175 h 381"/>
                <a:gd name="T6" fmla="*/ 28 w 122"/>
                <a:gd name="T7" fmla="*/ 381 h 381"/>
                <a:gd name="T8" fmla="*/ 94 w 122"/>
                <a:gd name="T9" fmla="*/ 381 h 381"/>
                <a:gd name="T10" fmla="*/ 94 w 122"/>
                <a:gd name="T11" fmla="*/ 175 h 381"/>
                <a:gd name="T12" fmla="*/ 122 w 122"/>
                <a:gd name="T13" fmla="*/ 101 h 381"/>
                <a:gd name="T14" fmla="*/ 122 w 122"/>
                <a:gd name="T15" fmla="*/ 0 h 381"/>
                <a:gd name="T16" fmla="*/ 0 w 122"/>
                <a:gd name="T17" fmla="*/ 0 h 381"/>
                <a:gd name="T18" fmla="*/ 69 w 122"/>
                <a:gd name="T19" fmla="*/ 357 h 381"/>
                <a:gd name="T20" fmla="*/ 52 w 122"/>
                <a:gd name="T21" fmla="*/ 357 h 381"/>
                <a:gd name="T22" fmla="*/ 52 w 122"/>
                <a:gd name="T23" fmla="*/ 185 h 381"/>
                <a:gd name="T24" fmla="*/ 61 w 122"/>
                <a:gd name="T25" fmla="*/ 186 h 381"/>
                <a:gd name="T26" fmla="*/ 69 w 122"/>
                <a:gd name="T27" fmla="*/ 185 h 381"/>
                <a:gd name="T28" fmla="*/ 69 w 122"/>
                <a:gd name="T29" fmla="*/ 357 h 381"/>
                <a:gd name="T30" fmla="*/ 98 w 122"/>
                <a:gd name="T31" fmla="*/ 101 h 381"/>
                <a:gd name="T32" fmla="*/ 61 w 122"/>
                <a:gd name="T33" fmla="*/ 161 h 381"/>
                <a:gd name="T34" fmla="*/ 24 w 122"/>
                <a:gd name="T35" fmla="*/ 101 h 381"/>
                <a:gd name="T36" fmla="*/ 24 w 122"/>
                <a:gd name="T37" fmla="*/ 24 h 381"/>
                <a:gd name="T38" fmla="*/ 38 w 122"/>
                <a:gd name="T39" fmla="*/ 24 h 381"/>
                <a:gd name="T40" fmla="*/ 38 w 122"/>
                <a:gd name="T41" fmla="*/ 89 h 381"/>
                <a:gd name="T42" fmla="*/ 54 w 122"/>
                <a:gd name="T43" fmla="*/ 89 h 381"/>
                <a:gd name="T44" fmla="*/ 54 w 122"/>
                <a:gd name="T45" fmla="*/ 24 h 381"/>
                <a:gd name="T46" fmla="*/ 67 w 122"/>
                <a:gd name="T47" fmla="*/ 24 h 381"/>
                <a:gd name="T48" fmla="*/ 67 w 122"/>
                <a:gd name="T49" fmla="*/ 89 h 381"/>
                <a:gd name="T50" fmla="*/ 83 w 122"/>
                <a:gd name="T51" fmla="*/ 89 h 381"/>
                <a:gd name="T52" fmla="*/ 83 w 122"/>
                <a:gd name="T53" fmla="*/ 24 h 381"/>
                <a:gd name="T54" fmla="*/ 98 w 122"/>
                <a:gd name="T55" fmla="*/ 24 h 381"/>
                <a:gd name="T56" fmla="*/ 98 w 122"/>
                <a:gd name="T57" fmla="*/ 10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2" h="38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0" y="129"/>
                    <a:pt x="7" y="159"/>
                    <a:pt x="28" y="175"/>
                  </a:cubicBezTo>
                  <a:cubicBezTo>
                    <a:pt x="28" y="381"/>
                    <a:pt x="28" y="381"/>
                    <a:pt x="28" y="381"/>
                  </a:cubicBezTo>
                  <a:cubicBezTo>
                    <a:pt x="94" y="381"/>
                    <a:pt x="94" y="381"/>
                    <a:pt x="94" y="381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114" y="159"/>
                    <a:pt x="122" y="129"/>
                    <a:pt x="122" y="101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0" y="0"/>
                  </a:lnTo>
                  <a:close/>
                  <a:moveTo>
                    <a:pt x="69" y="357"/>
                  </a:moveTo>
                  <a:cubicBezTo>
                    <a:pt x="52" y="357"/>
                    <a:pt x="52" y="357"/>
                    <a:pt x="52" y="357"/>
                  </a:cubicBezTo>
                  <a:cubicBezTo>
                    <a:pt x="52" y="185"/>
                    <a:pt x="52" y="185"/>
                    <a:pt x="52" y="185"/>
                  </a:cubicBezTo>
                  <a:cubicBezTo>
                    <a:pt x="55" y="186"/>
                    <a:pt x="58" y="186"/>
                    <a:pt x="61" y="186"/>
                  </a:cubicBezTo>
                  <a:cubicBezTo>
                    <a:pt x="64" y="186"/>
                    <a:pt x="67" y="186"/>
                    <a:pt x="69" y="185"/>
                  </a:cubicBezTo>
                  <a:lnTo>
                    <a:pt x="69" y="357"/>
                  </a:lnTo>
                  <a:close/>
                  <a:moveTo>
                    <a:pt x="98" y="101"/>
                  </a:moveTo>
                  <a:cubicBezTo>
                    <a:pt x="98" y="139"/>
                    <a:pt x="84" y="161"/>
                    <a:pt x="61" y="161"/>
                  </a:cubicBezTo>
                  <a:cubicBezTo>
                    <a:pt x="38" y="161"/>
                    <a:pt x="24" y="139"/>
                    <a:pt x="24" y="101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89"/>
                    <a:pt x="67" y="89"/>
                    <a:pt x="67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98" y="24"/>
                    <a:pt x="98" y="24"/>
                    <a:pt x="98" y="24"/>
                  </a:cubicBezTo>
                  <a:lnTo>
                    <a:pt x="98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114300" tIns="57150" rIns="114300" bIns="57150"/>
            <a:lstStyle/>
            <a:p>
              <a:pPr defTabSz="11430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250">
                <a:latin typeface="+mn-lt"/>
                <a:cs typeface="+mn-cs"/>
              </a:endParaRPr>
            </a:p>
          </p:txBody>
        </p:sp>
      </p:grp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61" name="Θέση αριθμού διαφάνειας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ts val="900"/>
            </a:pPr>
            <a:fld id="{37E3268D-6CAC-4CEF-A91C-DA2B79F5327A}" type="slidenum">
              <a: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ts val="900"/>
              </a:pPr>
              <a:t>17</a:t>
            </a:fld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348162" name="3 - TextBox"/>
          <p:cNvSpPr txBox="1">
            <a:spLocks noChangeArrowheads="1"/>
          </p:cNvSpPr>
          <p:nvPr/>
        </p:nvSpPr>
        <p:spPr bwMode="auto">
          <a:xfrm>
            <a:off x="555625" y="1568450"/>
            <a:ext cx="10728325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b="1">
                <a:solidFill>
                  <a:srgbClr val="002060"/>
                </a:solidFill>
                <a:latin typeface="Calibri" pitchFamily="34" charset="0"/>
              </a:rPr>
              <a:t>Παράρτημα 4: </a:t>
            </a:r>
            <a:r>
              <a:rPr lang="el-GR">
                <a:solidFill>
                  <a:srgbClr val="002060"/>
                </a:solidFill>
                <a:latin typeface="Calibri" pitchFamily="34" charset="0"/>
              </a:rPr>
              <a:t>Παραδείγματα διάταξης τραπεζοκαθισμάτων όπου στον ενδιάμεσο χώρο δεν τοποθετείται κάθισμα</a:t>
            </a:r>
          </a:p>
        </p:txBody>
      </p:sp>
      <p:sp>
        <p:nvSpPr>
          <p:cNvPr id="6" name="Rectangle: Diagonal Corners Snipped 10">
            <a:extLst>
              <a:ext uri="{FF2B5EF4-FFF2-40B4-BE49-F238E27FC236}"/>
            </a:extLst>
          </p:cNvPr>
          <p:cNvSpPr/>
          <p:nvPr/>
        </p:nvSpPr>
        <p:spPr>
          <a:xfrm>
            <a:off x="425450" y="547688"/>
            <a:ext cx="10987088" cy="874712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4</a:t>
            </a:r>
            <a:r>
              <a:rPr lang="en-GB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o 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Στάδιο – </a:t>
            </a:r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25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 Μαΐου</a:t>
            </a:r>
          </a:p>
        </p:txBody>
      </p:sp>
      <p:pic>
        <p:nvPicPr>
          <p:cNvPr id="348164" name="Εικόνα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1350" y="2795588"/>
            <a:ext cx="4133850" cy="2324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8165" name="Εικόνα 7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284913" y="2519363"/>
            <a:ext cx="4876800" cy="2686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8166" name="3 - TextBox"/>
          <p:cNvSpPr txBox="1">
            <a:spLocks noChangeArrowheads="1"/>
          </p:cNvSpPr>
          <p:nvPr/>
        </p:nvSpPr>
        <p:spPr bwMode="auto">
          <a:xfrm>
            <a:off x="892175" y="5484813"/>
            <a:ext cx="17446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1400">
                <a:solidFill>
                  <a:srgbClr val="002060"/>
                </a:solidFill>
                <a:latin typeface="Calibri" pitchFamily="34" charset="0"/>
              </a:rPr>
              <a:t>(Παράδειγμα 1</a:t>
            </a:r>
            <a:r>
              <a:rPr lang="el-GR" sz="1400" baseline="30000">
                <a:solidFill>
                  <a:srgbClr val="002060"/>
                </a:solidFill>
                <a:latin typeface="Calibri" pitchFamily="34" charset="0"/>
              </a:rPr>
              <a:t>ο</a:t>
            </a:r>
            <a:r>
              <a:rPr lang="el-GR" sz="1400">
                <a:solidFill>
                  <a:srgbClr val="002060"/>
                </a:solidFill>
                <a:latin typeface="Calibri" pitchFamily="34" charset="0"/>
              </a:rPr>
              <a:t>) </a:t>
            </a:r>
          </a:p>
        </p:txBody>
      </p:sp>
      <p:sp>
        <p:nvSpPr>
          <p:cNvPr id="348167" name="3 - TextBox"/>
          <p:cNvSpPr txBox="1">
            <a:spLocks noChangeArrowheads="1"/>
          </p:cNvSpPr>
          <p:nvPr/>
        </p:nvSpPr>
        <p:spPr bwMode="auto">
          <a:xfrm>
            <a:off x="6365875" y="5484813"/>
            <a:ext cx="17446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1400">
                <a:solidFill>
                  <a:srgbClr val="002060"/>
                </a:solidFill>
                <a:latin typeface="Calibri" pitchFamily="34" charset="0"/>
              </a:rPr>
              <a:t>(Παράδειγμα 2</a:t>
            </a:r>
            <a:r>
              <a:rPr lang="el-GR" sz="1400" baseline="30000">
                <a:solidFill>
                  <a:srgbClr val="002060"/>
                </a:solidFill>
                <a:latin typeface="Calibri" pitchFamily="34" charset="0"/>
              </a:rPr>
              <a:t>ο</a:t>
            </a:r>
            <a:r>
              <a:rPr lang="el-GR" sz="1400">
                <a:solidFill>
                  <a:srgbClr val="002060"/>
                </a:solidFill>
                <a:latin typeface="Calibri" pitchFamily="34" charset="0"/>
              </a:rPr>
              <a:t>) 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9185" name="Θέση αριθμού διαφάνειας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ts val="900"/>
            </a:pPr>
            <a:fld id="{08AE61FC-0D4C-4236-9EF3-6C34DDA200CA}" type="slidenum">
              <a: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ts val="900"/>
              </a:pPr>
              <a:t>18</a:t>
            </a:fld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5" name="Rectangle: Diagonal Corners Snipped 10">
            <a:extLst>
              <a:ext uri="{FF2B5EF4-FFF2-40B4-BE49-F238E27FC236}"/>
            </a:extLst>
          </p:cNvPr>
          <p:cNvSpPr/>
          <p:nvPr/>
        </p:nvSpPr>
        <p:spPr>
          <a:xfrm>
            <a:off x="425450" y="547688"/>
            <a:ext cx="10987088" cy="874712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4</a:t>
            </a:r>
            <a:r>
              <a:rPr lang="en-GB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o 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Στάδιο – </a:t>
            </a:r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25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 Μαΐου</a:t>
            </a:r>
          </a:p>
        </p:txBody>
      </p:sp>
      <p:sp>
        <p:nvSpPr>
          <p:cNvPr id="349187" name="3 - TextBox"/>
          <p:cNvSpPr txBox="1">
            <a:spLocks noChangeArrowheads="1"/>
          </p:cNvSpPr>
          <p:nvPr/>
        </p:nvSpPr>
        <p:spPr bwMode="auto">
          <a:xfrm>
            <a:off x="555625" y="1568450"/>
            <a:ext cx="10728325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b="1">
                <a:solidFill>
                  <a:srgbClr val="002060"/>
                </a:solidFill>
                <a:latin typeface="Calibri" pitchFamily="34" charset="0"/>
              </a:rPr>
              <a:t>Παράρτημα 5: </a:t>
            </a:r>
            <a:r>
              <a:rPr lang="el-GR">
                <a:solidFill>
                  <a:srgbClr val="002060"/>
                </a:solidFill>
                <a:latin typeface="Calibri" pitchFamily="34" charset="0"/>
              </a:rPr>
              <a:t>Παραδείγματα διάταξης τραπεζοκαθισμάτων όπου στον ενδιάμεσο χώρο τοποθετούνται καθίσματα μόνο στο ένα εκ των δύο τραπεζιών</a:t>
            </a:r>
          </a:p>
        </p:txBody>
      </p:sp>
      <p:pic>
        <p:nvPicPr>
          <p:cNvPr id="349188" name="Εικόνα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66750" y="3003550"/>
            <a:ext cx="4505325" cy="231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9189" name="3 - TextBox"/>
          <p:cNvSpPr txBox="1">
            <a:spLocks noChangeArrowheads="1"/>
          </p:cNvSpPr>
          <p:nvPr/>
        </p:nvSpPr>
        <p:spPr bwMode="auto">
          <a:xfrm>
            <a:off x="930275" y="5624513"/>
            <a:ext cx="1746250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1400">
                <a:solidFill>
                  <a:srgbClr val="002060"/>
                </a:solidFill>
                <a:latin typeface="Calibri" pitchFamily="34" charset="0"/>
              </a:rPr>
              <a:t>(Παράδειγμα 1</a:t>
            </a:r>
            <a:r>
              <a:rPr lang="el-GR" sz="1400" baseline="30000">
                <a:solidFill>
                  <a:srgbClr val="002060"/>
                </a:solidFill>
                <a:latin typeface="Calibri" pitchFamily="34" charset="0"/>
              </a:rPr>
              <a:t>ο</a:t>
            </a:r>
            <a:r>
              <a:rPr lang="el-GR" sz="1400">
                <a:solidFill>
                  <a:srgbClr val="002060"/>
                </a:solidFill>
                <a:latin typeface="Calibri" pitchFamily="34" charset="0"/>
              </a:rPr>
              <a:t>) </a:t>
            </a:r>
          </a:p>
        </p:txBody>
      </p:sp>
      <p:pic>
        <p:nvPicPr>
          <p:cNvPr id="349190" name="Εικόνα 8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453188" y="2679700"/>
            <a:ext cx="4638675" cy="263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9191" name="3 - TextBox"/>
          <p:cNvSpPr txBox="1">
            <a:spLocks noChangeArrowheads="1"/>
          </p:cNvSpPr>
          <p:nvPr/>
        </p:nvSpPr>
        <p:spPr bwMode="auto">
          <a:xfrm>
            <a:off x="6858000" y="5614988"/>
            <a:ext cx="17446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1400">
                <a:solidFill>
                  <a:srgbClr val="002060"/>
                </a:solidFill>
                <a:latin typeface="Calibri" pitchFamily="34" charset="0"/>
              </a:rPr>
              <a:t>(Παράδειγμα 2</a:t>
            </a:r>
            <a:r>
              <a:rPr lang="el-GR" sz="1400" baseline="30000">
                <a:solidFill>
                  <a:srgbClr val="002060"/>
                </a:solidFill>
                <a:latin typeface="Calibri" pitchFamily="34" charset="0"/>
              </a:rPr>
              <a:t>ο</a:t>
            </a:r>
            <a:r>
              <a:rPr lang="el-GR" sz="1400">
                <a:solidFill>
                  <a:srgbClr val="002060"/>
                </a:solidFill>
                <a:latin typeface="Calibri" pitchFamily="34" charset="0"/>
              </a:rPr>
              <a:t>) 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209" name="Θέση αριθμού διαφάνειας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ts val="900"/>
            </a:pPr>
            <a:fld id="{EA5F4111-87A0-4502-9E5F-49422F07DB5C}" type="slidenum">
              <a: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ts val="900"/>
              </a:pPr>
              <a:t>19</a:t>
            </a:fld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350210" name="3 - TextBox"/>
          <p:cNvSpPr txBox="1">
            <a:spLocks noChangeArrowheads="1"/>
          </p:cNvSpPr>
          <p:nvPr/>
        </p:nvSpPr>
        <p:spPr bwMode="auto">
          <a:xfrm>
            <a:off x="555625" y="1568450"/>
            <a:ext cx="10728325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b="1">
                <a:solidFill>
                  <a:srgbClr val="002060"/>
                </a:solidFill>
                <a:latin typeface="Calibri" pitchFamily="34" charset="0"/>
              </a:rPr>
              <a:t>Παράρτημα 6: </a:t>
            </a:r>
            <a:r>
              <a:rPr lang="el-GR">
                <a:solidFill>
                  <a:srgbClr val="002060"/>
                </a:solidFill>
                <a:latin typeface="Calibri" pitchFamily="34" charset="0"/>
              </a:rPr>
              <a:t>Παραδείγματα διάταξης τραπεζοκαθισμάτων με καθίσματα στον ενδιάμεσο χώρο και των δύο τραπεζιών</a:t>
            </a:r>
          </a:p>
        </p:txBody>
      </p:sp>
      <p:sp>
        <p:nvSpPr>
          <p:cNvPr id="6" name="Rectangle: Diagonal Corners Snipped 10">
            <a:extLst>
              <a:ext uri="{FF2B5EF4-FFF2-40B4-BE49-F238E27FC236}"/>
            </a:extLst>
          </p:cNvPr>
          <p:cNvSpPr/>
          <p:nvPr/>
        </p:nvSpPr>
        <p:spPr>
          <a:xfrm>
            <a:off x="425450" y="547688"/>
            <a:ext cx="10987088" cy="874712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4</a:t>
            </a:r>
            <a:r>
              <a:rPr lang="en-GB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o 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Στάδιο – </a:t>
            </a:r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25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 Μαΐου</a:t>
            </a:r>
          </a:p>
        </p:txBody>
      </p:sp>
      <p:pic>
        <p:nvPicPr>
          <p:cNvPr id="350212" name="Εικόνα 6"/>
          <p:cNvPicPr>
            <a:picLocks noChangeAspect="1"/>
          </p:cNvPicPr>
          <p:nvPr/>
        </p:nvPicPr>
        <p:blipFill>
          <a:blip r:embed="rId2"/>
          <a:srcRect r="961" b="51706"/>
          <a:stretch>
            <a:fillRect/>
          </a:stretch>
        </p:blipFill>
        <p:spPr bwMode="auto">
          <a:xfrm>
            <a:off x="555625" y="3124200"/>
            <a:ext cx="5518150" cy="263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0213" name="Εικόνα 8"/>
          <p:cNvPicPr>
            <a:picLocks noChangeAspect="1"/>
          </p:cNvPicPr>
          <p:nvPr/>
        </p:nvPicPr>
        <p:blipFill>
          <a:blip r:embed="rId2"/>
          <a:srcRect t="52783" r="-233"/>
          <a:stretch>
            <a:fillRect/>
          </a:stretch>
        </p:blipFill>
        <p:spPr bwMode="auto">
          <a:xfrm>
            <a:off x="6254750" y="2974975"/>
            <a:ext cx="5584825" cy="2571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0214" name="3 - TextBox"/>
          <p:cNvSpPr txBox="1">
            <a:spLocks noChangeArrowheads="1"/>
          </p:cNvSpPr>
          <p:nvPr/>
        </p:nvSpPr>
        <p:spPr bwMode="auto">
          <a:xfrm>
            <a:off x="958850" y="5727700"/>
            <a:ext cx="1746250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1400">
                <a:solidFill>
                  <a:srgbClr val="002060"/>
                </a:solidFill>
                <a:latin typeface="Calibri" pitchFamily="34" charset="0"/>
              </a:rPr>
              <a:t>(Παράδειγμα 1</a:t>
            </a:r>
            <a:r>
              <a:rPr lang="el-GR" sz="1400" baseline="30000">
                <a:solidFill>
                  <a:srgbClr val="002060"/>
                </a:solidFill>
                <a:latin typeface="Calibri" pitchFamily="34" charset="0"/>
              </a:rPr>
              <a:t>ο</a:t>
            </a:r>
            <a:r>
              <a:rPr lang="el-GR" sz="1400">
                <a:solidFill>
                  <a:srgbClr val="002060"/>
                </a:solidFill>
                <a:latin typeface="Calibri" pitchFamily="34" charset="0"/>
              </a:rPr>
              <a:t>) </a:t>
            </a:r>
          </a:p>
        </p:txBody>
      </p:sp>
      <p:sp>
        <p:nvSpPr>
          <p:cNvPr id="350215" name="3 - TextBox"/>
          <p:cNvSpPr txBox="1">
            <a:spLocks noChangeArrowheads="1"/>
          </p:cNvSpPr>
          <p:nvPr/>
        </p:nvSpPr>
        <p:spPr bwMode="auto">
          <a:xfrm>
            <a:off x="6684963" y="5756275"/>
            <a:ext cx="1744662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1400">
                <a:solidFill>
                  <a:srgbClr val="002060"/>
                </a:solidFill>
                <a:latin typeface="Calibri" pitchFamily="34" charset="0"/>
              </a:rPr>
              <a:t>(Παράδειγμα 2</a:t>
            </a:r>
            <a:r>
              <a:rPr lang="el-GR" sz="1400" baseline="30000">
                <a:solidFill>
                  <a:srgbClr val="002060"/>
                </a:solidFill>
                <a:latin typeface="Calibri" pitchFamily="34" charset="0"/>
              </a:rPr>
              <a:t>ο</a:t>
            </a:r>
            <a:r>
              <a:rPr lang="el-GR" sz="1400">
                <a:solidFill>
                  <a:srgbClr val="002060"/>
                </a:solidFill>
                <a:latin typeface="Calibri" pitchFamily="34" charset="0"/>
              </a:rPr>
              <a:t>) 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926" name="Object 20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86926" name="think-cell Slide" r:id="rId5" imgW="360" imgH="360" progId="">
              <p:embed/>
            </p:oleObj>
          </a:graphicData>
        </a:graphic>
      </p:graphicFrame>
      <p:sp>
        <p:nvSpPr>
          <p:cNvPr id="42" name="Google Shape;1800;p278">
            <a:extLst>
              <a:ext uri="{FF2B5EF4-FFF2-40B4-BE49-F238E27FC236}"/>
            </a:extLst>
          </p:cNvPr>
          <p:cNvSpPr/>
          <p:nvPr/>
        </p:nvSpPr>
        <p:spPr>
          <a:xfrm>
            <a:off x="669925" y="4386263"/>
            <a:ext cx="10852150" cy="782637"/>
          </a:xfrm>
          <a:prstGeom prst="homePlate">
            <a:avLst>
              <a:gd name="adj" fmla="val 22164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lIns="80669" tIns="40324" rIns="80669" bIns="4032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/>
            </a:pPr>
            <a:endParaRPr sz="1059" kern="0">
              <a:solidFill>
                <a:srgbClr val="FFFFFF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43" name="Google Shape;1800;p278">
            <a:extLst>
              <a:ext uri="{FF2B5EF4-FFF2-40B4-BE49-F238E27FC236}"/>
            </a:extLst>
          </p:cNvPr>
          <p:cNvSpPr/>
          <p:nvPr/>
        </p:nvSpPr>
        <p:spPr>
          <a:xfrm>
            <a:off x="722313" y="2582863"/>
            <a:ext cx="10852150" cy="782637"/>
          </a:xfrm>
          <a:prstGeom prst="homePlate">
            <a:avLst>
              <a:gd name="adj" fmla="val 22164"/>
            </a:avLst>
          </a:prstGeom>
          <a:solidFill>
            <a:srgbClr val="DEECEF"/>
          </a:solidFill>
          <a:ln>
            <a:noFill/>
          </a:ln>
        </p:spPr>
        <p:txBody>
          <a:bodyPr spcFirstLastPara="1" lIns="80669" tIns="40324" rIns="80669" bIns="40324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/>
            </a:pPr>
            <a:endParaRPr sz="1059" kern="0" dirty="0">
              <a:latin typeface="+mn-lt"/>
              <a:cs typeface="Arial"/>
              <a:sym typeface="Arial"/>
            </a:endParaRPr>
          </a:p>
        </p:txBody>
      </p:sp>
      <p:sp>
        <p:nvSpPr>
          <p:cNvPr id="33" name="Rectangle: Diagonal Corners Snipped 32">
            <a:extLst>
              <a:ext uri="{FF2B5EF4-FFF2-40B4-BE49-F238E27FC236}"/>
            </a:extLst>
          </p:cNvPr>
          <p:cNvSpPr/>
          <p:nvPr/>
        </p:nvSpPr>
        <p:spPr>
          <a:xfrm>
            <a:off x="425450" y="547688"/>
            <a:ext cx="10987088" cy="874712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Στάδια επανεκκίνησης της οικονομικής δραστηριότητας</a:t>
            </a:r>
          </a:p>
        </p:txBody>
      </p:sp>
      <p:sp>
        <p:nvSpPr>
          <p:cNvPr id="5" name="TextBox 4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660525" y="2386013"/>
            <a:ext cx="1960563" cy="117792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4 Μαΐ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5313363" y="2386013"/>
            <a:ext cx="1962150" cy="117792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1 Μαΐ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8967788" y="2386013"/>
            <a:ext cx="1960562" cy="117792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8 Μαΐ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660525" y="4187825"/>
            <a:ext cx="1962150" cy="117633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</a:t>
            </a:r>
            <a:r>
              <a:rPr lang="el-GR" sz="14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25 </a:t>
            </a: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Μαΐ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6530975" y="4187825"/>
            <a:ext cx="1962150" cy="117633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Θα καθοριστεί με βάση την πορεία της πανδημίας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8967788" y="4187825"/>
            <a:ext cx="1960562" cy="117633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Θα καθοριστεί με βάση την πορεία της πανδημίας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4095750" y="4187825"/>
            <a:ext cx="1962150" cy="117633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Θα καθοριστεί με βάση την πορεία της πανδημίας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Oval 13">
            <a:extLst>
              <a:ext uri="{FF2B5EF4-FFF2-40B4-BE49-F238E27FC236}"/>
            </a:extLst>
          </p:cNvPr>
          <p:cNvSpPr/>
          <p:nvPr/>
        </p:nvSpPr>
        <p:spPr>
          <a:xfrm>
            <a:off x="1487488" y="2205038"/>
            <a:ext cx="339725" cy="347662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29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1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15" name="Oval 14">
            <a:extLst>
              <a:ext uri="{FF2B5EF4-FFF2-40B4-BE49-F238E27FC236}"/>
            </a:extLst>
          </p:cNvPr>
          <p:cNvSpPr/>
          <p:nvPr/>
        </p:nvSpPr>
        <p:spPr>
          <a:xfrm>
            <a:off x="5164138" y="2227263"/>
            <a:ext cx="338137" cy="34925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29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2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16" name="Oval 15">
            <a:extLst>
              <a:ext uri="{FF2B5EF4-FFF2-40B4-BE49-F238E27FC236}"/>
            </a:extLst>
          </p:cNvPr>
          <p:cNvSpPr/>
          <p:nvPr/>
        </p:nvSpPr>
        <p:spPr>
          <a:xfrm>
            <a:off x="8839200" y="2219325"/>
            <a:ext cx="338138" cy="34925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29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3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18" name="Oval 17">
            <a:extLst>
              <a:ext uri="{FF2B5EF4-FFF2-40B4-BE49-F238E27FC236}"/>
            </a:extLst>
          </p:cNvPr>
          <p:cNvSpPr/>
          <p:nvPr/>
        </p:nvSpPr>
        <p:spPr>
          <a:xfrm>
            <a:off x="1489075" y="3965575"/>
            <a:ext cx="339725" cy="347663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29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4</a:t>
            </a:r>
          </a:p>
        </p:txBody>
      </p:sp>
      <p:sp>
        <p:nvSpPr>
          <p:cNvPr id="19" name="Oval 18">
            <a:extLst>
              <a:ext uri="{FF2B5EF4-FFF2-40B4-BE49-F238E27FC236}"/>
            </a:extLst>
          </p:cNvPr>
          <p:cNvSpPr/>
          <p:nvPr/>
        </p:nvSpPr>
        <p:spPr>
          <a:xfrm>
            <a:off x="3925888" y="3965575"/>
            <a:ext cx="338137" cy="347663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29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5</a:t>
            </a:r>
          </a:p>
        </p:txBody>
      </p:sp>
      <p:sp>
        <p:nvSpPr>
          <p:cNvPr id="20" name="Oval 19">
            <a:extLst>
              <a:ext uri="{FF2B5EF4-FFF2-40B4-BE49-F238E27FC236}"/>
            </a:extLst>
          </p:cNvPr>
          <p:cNvSpPr/>
          <p:nvPr/>
        </p:nvSpPr>
        <p:spPr>
          <a:xfrm>
            <a:off x="6361113" y="3965575"/>
            <a:ext cx="338137" cy="347663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29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6</a:t>
            </a:r>
          </a:p>
        </p:txBody>
      </p:sp>
      <p:sp>
        <p:nvSpPr>
          <p:cNvPr id="21" name="Oval 20">
            <a:extLst>
              <a:ext uri="{FF2B5EF4-FFF2-40B4-BE49-F238E27FC236}"/>
            </a:extLst>
          </p:cNvPr>
          <p:cNvSpPr/>
          <p:nvPr/>
        </p:nvSpPr>
        <p:spPr>
          <a:xfrm>
            <a:off x="8796338" y="3965575"/>
            <a:ext cx="339725" cy="347663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29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7</a:t>
            </a:r>
          </a:p>
        </p:txBody>
      </p:sp>
      <p:sp>
        <p:nvSpPr>
          <p:cNvPr id="44" name="Oval 43">
            <a:extLst>
              <a:ext uri="{FF2B5EF4-FFF2-40B4-BE49-F238E27FC236}"/>
            </a:extLst>
          </p:cNvPr>
          <p:cNvSpPr/>
          <p:nvPr/>
        </p:nvSpPr>
        <p:spPr>
          <a:xfrm>
            <a:off x="500063" y="2730500"/>
            <a:ext cx="338137" cy="34925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29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A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45" name="Oval 44">
            <a:extLst>
              <a:ext uri="{FF2B5EF4-FFF2-40B4-BE49-F238E27FC236}"/>
            </a:extLst>
          </p:cNvPr>
          <p:cNvSpPr/>
          <p:nvPr/>
        </p:nvSpPr>
        <p:spPr>
          <a:xfrm>
            <a:off x="498475" y="4602163"/>
            <a:ext cx="338138" cy="347662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29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B</a:t>
            </a:r>
            <a:endParaRPr lang="el-GR" b="1" i="1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276ADB9-B059-4660-A3AC-03E05836EB67}" type="slidenum">
              <a:rPr lang="en-US"/>
              <a:pPr>
                <a:defRPr/>
              </a:pPr>
              <a:t>2</a:t>
            </a:fld>
            <a:endParaRPr lang="en-US"/>
          </a:p>
        </p:txBody>
      </p:sp>
      <p:sp>
        <p:nvSpPr>
          <p:cNvPr id="286947" name="22 - TextBox"/>
          <p:cNvSpPr txBox="1">
            <a:spLocks noChangeArrowheads="1"/>
          </p:cNvSpPr>
          <p:nvPr/>
        </p:nvSpPr>
        <p:spPr bwMode="auto">
          <a:xfrm>
            <a:off x="1071563" y="2759075"/>
            <a:ext cx="631825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3600" b="1">
                <a:solidFill>
                  <a:srgbClr val="00B050"/>
                </a:solidFill>
                <a:latin typeface="Century Gothic" pitchFamily="34" charset="0"/>
              </a:rPr>
              <a:t>√</a:t>
            </a:r>
            <a:endParaRPr lang="el-GR" sz="3600" b="1">
              <a:solidFill>
                <a:srgbClr val="00B050"/>
              </a:solidFill>
              <a:latin typeface="Calibri" pitchFamily="34" charset="0"/>
            </a:endParaRPr>
          </a:p>
        </p:txBody>
      </p:sp>
      <p:sp>
        <p:nvSpPr>
          <p:cNvPr id="286948" name="23 - TextBox"/>
          <p:cNvSpPr txBox="1">
            <a:spLocks noChangeArrowheads="1"/>
          </p:cNvSpPr>
          <p:nvPr/>
        </p:nvSpPr>
        <p:spPr bwMode="auto">
          <a:xfrm>
            <a:off x="4241800" y="2782888"/>
            <a:ext cx="630238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3600" b="1">
                <a:solidFill>
                  <a:srgbClr val="00B050"/>
                </a:solidFill>
                <a:latin typeface="Century Gothic" pitchFamily="34" charset="0"/>
              </a:rPr>
              <a:t>√</a:t>
            </a:r>
            <a:endParaRPr lang="el-GR" sz="3600" b="1">
              <a:solidFill>
                <a:srgbClr val="00B050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1233" name="Θέση αριθμού διαφάνειας 3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ts val="900"/>
            </a:pPr>
            <a:fld id="{0C3FF074-D03B-438C-B635-63E899B41923}" type="slidenum">
              <a: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ts val="900"/>
              </a:pPr>
              <a:t>20</a:t>
            </a:fld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grpSp>
        <p:nvGrpSpPr>
          <p:cNvPr id="351234" name="Ομάδα 72"/>
          <p:cNvGrpSpPr>
            <a:grpSpLocks/>
          </p:cNvGrpSpPr>
          <p:nvPr/>
        </p:nvGrpSpPr>
        <p:grpSpPr bwMode="auto">
          <a:xfrm>
            <a:off x="614363" y="1789113"/>
            <a:ext cx="8883650" cy="3228975"/>
            <a:chOff x="267547" y="2175308"/>
            <a:chExt cx="9434454" cy="3430406"/>
          </a:xfrm>
        </p:grpSpPr>
        <p:sp>
          <p:nvSpPr>
            <p:cNvPr id="5" name="Rectangle 99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275976" y="3035439"/>
              <a:ext cx="1928702" cy="438498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176213" indent="-17621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l-GR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 </a:t>
              </a:r>
              <a:r>
                <a:rPr lang="el-GR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Μάσκα </a:t>
              </a:r>
              <a:endParaRPr lang="el-G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Rectangle 109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267547" y="3570069"/>
              <a:ext cx="1937131" cy="438498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182563" indent="-18256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l-GR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. </a:t>
              </a:r>
              <a:r>
                <a:rPr lang="el-GR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Ασπίδα προσώπου. </a:t>
              </a:r>
              <a:endParaRPr lang="el-G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Rectangle 110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267547" y="4104701"/>
              <a:ext cx="1937131" cy="438498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l-GR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 </a:t>
              </a:r>
              <a:r>
                <a:rPr lang="el-GR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Τήρηση απόστασης.</a:t>
              </a:r>
              <a:endParaRPr lang="el-G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Rectangle 111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267547" y="4635958"/>
              <a:ext cx="1937131" cy="438498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176213" indent="-17621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l-GR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r>
                <a:rPr lang="el-GR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el-GR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Γάντια.</a:t>
              </a:r>
              <a:endParaRPr lang="el-G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3253325" y="3025320"/>
              <a:ext cx="863195" cy="43849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1400" baseline="6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0" name="Rectangle 227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074128" y="2175308"/>
              <a:ext cx="2714344" cy="43849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l-GR" sz="1050" b="1" dirty="0">
                  <a:solidFill>
                    <a:schemeClr val="bg1"/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Διαχείριση Τροφίμων</a:t>
              </a:r>
              <a:endParaRPr lang="en-US" sz="1050" b="1" dirty="0">
                <a:solidFill>
                  <a:schemeClr val="bg1"/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1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3253325" y="2655969"/>
              <a:ext cx="863195" cy="30863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l-GR" sz="900" b="1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Ταμείο</a:t>
              </a:r>
              <a:r>
                <a:rPr lang="el-GR" sz="900" baseline="60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 </a:t>
              </a:r>
              <a:r>
                <a:rPr lang="el-GR" sz="1000" baseline="30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1</a:t>
              </a:r>
              <a:endParaRPr lang="en-US" sz="1000" b="1" baseline="3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2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986215" y="2655969"/>
              <a:ext cx="898599" cy="30863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l-GR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l-GR" sz="900" b="1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Σερβιτόροι</a:t>
              </a:r>
              <a:r>
                <a:rPr lang="el-GR" sz="900" baseline="60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 </a:t>
              </a:r>
              <a:r>
                <a:rPr lang="el-GR" sz="1000" baseline="30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2</a:t>
              </a:r>
              <a:endParaRPr lang="en-US" sz="1000" b="1" baseline="3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0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3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986215" y="3027006"/>
              <a:ext cx="885112" cy="43849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4" name="Rectangle 227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7840736" y="2175308"/>
              <a:ext cx="901971" cy="43849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l-GR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Προσωπικό Καθαριότητας </a:t>
              </a:r>
              <a:endPara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5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7840736" y="2664402"/>
              <a:ext cx="901971" cy="31032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l-GR" sz="900" b="1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Όλοι οι χώροι</a:t>
              </a:r>
              <a:endParaRPr lang="en-US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17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7869397" y="3035439"/>
              <a:ext cx="873311" cy="44018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21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2331123" y="2655969"/>
              <a:ext cx="864881" cy="30863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Reception</a:t>
              </a:r>
              <a:endParaRPr lang="en-US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26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3260069" y="3544772"/>
              <a:ext cx="837907" cy="44355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1400" baseline="6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27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979472" y="3539712"/>
              <a:ext cx="891855" cy="45030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28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7889628" y="3551518"/>
              <a:ext cx="853080" cy="44693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0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3260069" y="4069283"/>
              <a:ext cx="837907" cy="44355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1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986215" y="4067597"/>
              <a:ext cx="873311" cy="44355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2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7891314" y="4074343"/>
              <a:ext cx="837906" cy="44355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4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3260069" y="4600541"/>
              <a:ext cx="837907" cy="45367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5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986215" y="4600541"/>
              <a:ext cx="873311" cy="44524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6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7889628" y="4602227"/>
              <a:ext cx="839592" cy="44355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r>
                <a:rPr lang="el-GR" sz="1200" baseline="60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3</a:t>
              </a:r>
              <a:endParaRPr lang="en-US" sz="1200" baseline="6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38" name="Rectangle 111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267547" y="5167216"/>
              <a:ext cx="1937131" cy="438498"/>
            </a:xfrm>
            <a:prstGeom prst="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176213" indent="-17621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l-GR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r>
                <a:rPr lang="el-GR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</a:t>
              </a:r>
              <a:r>
                <a:rPr lang="el-GR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Υγιεινή χεριών.</a:t>
              </a:r>
              <a:endParaRPr lang="el-GR" sz="11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2314264" y="3023633"/>
              <a:ext cx="864881" cy="43849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baseline="6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0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2321008" y="3553204"/>
              <a:ext cx="839592" cy="44355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1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2321008" y="4077716"/>
              <a:ext cx="839592" cy="44355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2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2321008" y="4608973"/>
              <a:ext cx="839592" cy="45367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3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2314264" y="5146977"/>
              <a:ext cx="839592" cy="45367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4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3253325" y="5145290"/>
              <a:ext cx="837907" cy="45536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5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4173842" y="2655969"/>
              <a:ext cx="837907" cy="30863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l-GR" sz="900" b="1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Διοικητικές Υπηρεσίες</a:t>
              </a:r>
              <a:endParaRPr lang="en-US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6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4173842" y="3027006"/>
              <a:ext cx="837907" cy="43849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7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4167098" y="3539712"/>
              <a:ext cx="839592" cy="45030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8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4173842" y="4067597"/>
              <a:ext cx="837907" cy="44355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49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4173842" y="4600541"/>
              <a:ext cx="837907" cy="44524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0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4167098" y="5143604"/>
              <a:ext cx="839592" cy="45367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1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090987" y="2655969"/>
              <a:ext cx="837907" cy="30863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l-GR" sz="900" b="1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Μάγειροι &amp; Βοηθοί </a:t>
              </a:r>
              <a:endParaRPr lang="en-US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2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090987" y="3025320"/>
              <a:ext cx="837907" cy="44018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3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084243" y="3539712"/>
              <a:ext cx="839592" cy="45030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4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080871" y="4067597"/>
              <a:ext cx="837907" cy="44355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5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080871" y="4600541"/>
              <a:ext cx="837907" cy="44524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6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080871" y="5143604"/>
              <a:ext cx="837907" cy="45367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7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979472" y="5143604"/>
              <a:ext cx="891855" cy="45367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8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6952252" y="2664402"/>
              <a:ext cx="837907" cy="310322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l-GR" sz="900" b="1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Μαιτρ</a:t>
              </a:r>
              <a:endParaRPr lang="en-US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59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6952252" y="3035439"/>
              <a:ext cx="837907" cy="44018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0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6945508" y="3539712"/>
              <a:ext cx="837907" cy="44861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1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6952252" y="4067597"/>
              <a:ext cx="837907" cy="44355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2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6952252" y="4600541"/>
              <a:ext cx="837907" cy="44355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3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6955623" y="5141917"/>
              <a:ext cx="839592" cy="455364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4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7887942" y="5146977"/>
              <a:ext cx="837906" cy="45873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endParaRPr lang="en-US" sz="2000" baseline="3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5" name="Rectangle 227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8805087" y="2175308"/>
              <a:ext cx="896914" cy="43849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l-GR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Τεχνικοί Υπάλληλοι</a:t>
              </a:r>
              <a:endPara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6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8803401" y="2664402"/>
              <a:ext cx="888485" cy="308635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l-GR" sz="900" b="1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</a:rPr>
                <a:t>Εσωτερικοί  χώροι</a:t>
              </a:r>
              <a:endParaRPr lang="en-US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8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8798344" y="3033752"/>
              <a:ext cx="886798" cy="43849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2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</a:t>
              </a:r>
              <a:r>
                <a:rPr lang="el-GR" sz="1200" baseline="60000" dirty="0">
                  <a:solidFill>
                    <a:schemeClr val="accent1">
                      <a:lumMod val="75000"/>
                    </a:schemeClr>
                  </a:solidFill>
                  <a:latin typeface="Arial" panose="020B0604020202020204" pitchFamily="34" charset="0"/>
                  <a:cs typeface="Arabic Typesetting" panose="03020402040406030203" pitchFamily="66" charset="-78"/>
                  <a:sym typeface="Wingdings" panose="05000000000000000000" pitchFamily="2" charset="2"/>
                </a:rPr>
                <a:t>4</a:t>
              </a:r>
              <a:endParaRPr lang="en-US" sz="1400" baseline="6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69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8811831" y="3559950"/>
              <a:ext cx="873311" cy="44693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70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8811831" y="4082775"/>
              <a:ext cx="876683" cy="44355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71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8811831" y="4600541"/>
              <a:ext cx="876683" cy="443557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baseline="3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  <p:sp>
          <p:nvSpPr>
            <p:cNvPr id="72" name="Rectangle 203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8808459" y="5155409"/>
              <a:ext cx="876683" cy="44187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41719C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000" baseline="3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endParaRPr>
            </a:p>
          </p:txBody>
        </p:sp>
      </p:grpSp>
      <p:sp>
        <p:nvSpPr>
          <p:cNvPr id="74" name="TextBox 73"/>
          <p:cNvSpPr txBox="1"/>
          <p:nvPr/>
        </p:nvSpPr>
        <p:spPr>
          <a:xfrm>
            <a:off x="614363" y="5219700"/>
            <a:ext cx="6926262" cy="9001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050" dirty="0">
                <a:solidFill>
                  <a:srgbClr val="002060"/>
                </a:solidFill>
                <a:latin typeface="+mn-lt"/>
                <a:cs typeface="+mn-cs"/>
              </a:rPr>
              <a:t>1.&amp; 2.  Μάσκα ή ασπίδα προσώπου.</a:t>
            </a:r>
            <a:endParaRPr lang="el-GR" sz="1050" dirty="0">
              <a:solidFill>
                <a:srgbClr val="002060"/>
              </a:solidFill>
              <a:latin typeface="+mn-lt"/>
              <a:cs typeface="+mn-cs"/>
            </a:endParaRP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Tx/>
              <a:buAutoNum type="arabicPeriod" startAt="3"/>
              <a:defRPr/>
            </a:pPr>
            <a:r>
              <a:rPr lang="el-GR" sz="1050" dirty="0">
                <a:solidFill>
                  <a:srgbClr val="002060"/>
                </a:solidFill>
                <a:latin typeface="+mn-lt"/>
                <a:cs typeface="+mn-cs"/>
              </a:rPr>
              <a:t>     Γάντια κατά τη διαδικασία καθαριότητας.</a:t>
            </a: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Tx/>
              <a:buAutoNum type="arabicPeriod" startAt="3"/>
              <a:defRPr/>
            </a:pPr>
            <a:r>
              <a:rPr lang="el-GR" sz="1050" dirty="0">
                <a:solidFill>
                  <a:srgbClr val="002060"/>
                </a:solidFill>
                <a:latin typeface="+mn-lt"/>
                <a:cs typeface="+mn-cs"/>
              </a:rPr>
              <a:t>     Μάσκα </a:t>
            </a:r>
            <a:r>
              <a:rPr lang="el-GR" sz="1050" dirty="0">
                <a:solidFill>
                  <a:srgbClr val="002060"/>
                </a:solidFill>
                <a:latin typeface="+mn-lt"/>
                <a:cs typeface="+mn-cs"/>
              </a:rPr>
              <a:t>όπου  έρχονται σε επαφή με κοινό ή με άλλους εργαζόμενους  όταν δεν μπορεί να τηρηθεί η </a:t>
            </a:r>
            <a:r>
              <a:rPr lang="el-GR" sz="1050" dirty="0">
                <a:solidFill>
                  <a:srgbClr val="002060"/>
                </a:solidFill>
                <a:latin typeface="+mn-lt"/>
                <a:cs typeface="+mn-cs"/>
              </a:rPr>
              <a:t>απόσταση.</a:t>
            </a: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Tx/>
              <a:buAutoNum type="arabicPeriod" startAt="3"/>
              <a:defRPr/>
            </a:pPr>
            <a:r>
              <a:rPr lang="el-GR" sz="1050" dirty="0">
                <a:solidFill>
                  <a:srgbClr val="002060"/>
                </a:solidFill>
                <a:latin typeface="+mn-lt"/>
                <a:cs typeface="+mn-cs"/>
              </a:rPr>
              <a:t> </a:t>
            </a:r>
            <a:r>
              <a:rPr lang="el-GR" sz="1050" dirty="0">
                <a:solidFill>
                  <a:srgbClr val="002060"/>
                </a:solidFill>
                <a:latin typeface="+mn-lt"/>
                <a:cs typeface="+mn-cs"/>
              </a:rPr>
              <a:t>    Σε περίπτωση που έρχονται σε επαφή με το κοινό.</a:t>
            </a: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Tx/>
              <a:buAutoNum type="arabicPeriod" startAt="3"/>
              <a:defRPr/>
            </a:pPr>
            <a:r>
              <a:rPr lang="el-GR" sz="1050" dirty="0">
                <a:solidFill>
                  <a:srgbClr val="002060"/>
                </a:solidFill>
                <a:latin typeface="+mn-lt"/>
                <a:cs typeface="+mn-cs"/>
              </a:rPr>
              <a:t> </a:t>
            </a:r>
            <a:r>
              <a:rPr lang="el-GR" sz="1050" dirty="0">
                <a:solidFill>
                  <a:srgbClr val="002060"/>
                </a:solidFill>
                <a:latin typeface="+mn-lt"/>
                <a:cs typeface="+mn-cs"/>
              </a:rPr>
              <a:t>    </a:t>
            </a:r>
            <a:r>
              <a:rPr lang="el-GR" sz="1050" dirty="0">
                <a:solidFill>
                  <a:srgbClr val="002060"/>
                </a:solidFill>
                <a:latin typeface="+mn-lt"/>
                <a:cs typeface="+mn-cs"/>
              </a:rPr>
              <a:t>Χρήση μάσκας </a:t>
            </a:r>
            <a:r>
              <a:rPr lang="el-GR" sz="1050" dirty="0">
                <a:solidFill>
                  <a:schemeClr val="accent3">
                    <a:lumMod val="50000"/>
                  </a:schemeClr>
                </a:solidFill>
                <a:latin typeface="+mn-lt"/>
                <a:cs typeface="+mn-cs"/>
              </a:rPr>
              <a:t>εφόσον έρχονται σε επαφή με το κοινό και δεν </a:t>
            </a:r>
            <a:r>
              <a:rPr lang="el-GR" sz="1050" dirty="0">
                <a:solidFill>
                  <a:schemeClr val="accent3">
                    <a:lumMod val="50000"/>
                  </a:schemeClr>
                </a:solidFill>
                <a:latin typeface="+mn-lt"/>
                <a:cs typeface="+mn-cs"/>
              </a:rPr>
              <a:t>είναι δυνατή η τήρηση </a:t>
            </a:r>
            <a:r>
              <a:rPr lang="el-GR" sz="1050" dirty="0">
                <a:solidFill>
                  <a:schemeClr val="accent3">
                    <a:lumMod val="50000"/>
                  </a:schemeClr>
                </a:solidFill>
                <a:latin typeface="+mn-lt"/>
                <a:cs typeface="+mn-cs"/>
              </a:rPr>
              <a:t>απόστασης. </a:t>
            </a:r>
            <a:endParaRPr lang="el-GR" sz="1050" dirty="0">
              <a:solidFill>
                <a:schemeClr val="accent3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76" name="Rectangle: Diagonal Corners Snipped 10">
            <a:extLst>
              <a:ext uri="{FF2B5EF4-FFF2-40B4-BE49-F238E27FC236}"/>
            </a:extLst>
          </p:cNvPr>
          <p:cNvSpPr/>
          <p:nvPr/>
        </p:nvSpPr>
        <p:spPr>
          <a:xfrm>
            <a:off x="425450" y="409575"/>
            <a:ext cx="10987088" cy="874713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4</a:t>
            </a:r>
            <a:r>
              <a:rPr lang="en-GB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o 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Στάδιο – </a:t>
            </a:r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25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 Μαΐου</a:t>
            </a:r>
          </a:p>
        </p:txBody>
      </p:sp>
      <p:sp>
        <p:nvSpPr>
          <p:cNvPr id="78" name="Rectangle 227">
            <a:extLst>
              <a:ext uri="{FF2B5EF4-FFF2-40B4-BE49-F238E27FC236}"/>
            </a:extLst>
          </p:cNvPr>
          <p:cNvSpPr/>
          <p:nvPr/>
        </p:nvSpPr>
        <p:spPr>
          <a:xfrm>
            <a:off x="9545638" y="1789113"/>
            <a:ext cx="936625" cy="41116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000" b="1" dirty="0">
                <a:solidFill>
                  <a:schemeClr val="bg1"/>
                </a:solidFill>
                <a:latin typeface="Arial" panose="020B0604020202020204" pitchFamily="34" charset="0"/>
                <a:cs typeface="Arabic Typesetting" panose="03020402040406030203" pitchFamily="66" charset="-78"/>
              </a:rPr>
              <a:t>Προμηθευτές</a:t>
            </a:r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79" name="Rectangle 203">
            <a:extLst>
              <a:ext uri="{FF2B5EF4-FFF2-40B4-BE49-F238E27FC236}"/>
            </a:extLst>
          </p:cNvPr>
          <p:cNvSpPr/>
          <p:nvPr/>
        </p:nvSpPr>
        <p:spPr>
          <a:xfrm>
            <a:off x="9545638" y="2247900"/>
            <a:ext cx="936625" cy="2921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rPr>
              <a:t>Α΄ Υλών/ αναλώσιμων</a:t>
            </a:r>
            <a:endParaRPr lang="en-US" sz="9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0" name="Rectangle 203">
            <a:extLst>
              <a:ext uri="{FF2B5EF4-FFF2-40B4-BE49-F238E27FC236}"/>
            </a:extLst>
          </p:cNvPr>
          <p:cNvSpPr/>
          <p:nvPr/>
        </p:nvSpPr>
        <p:spPr>
          <a:xfrm>
            <a:off x="9540875" y="2597150"/>
            <a:ext cx="941388" cy="412750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endParaRPr lang="en-US" sz="1400" baseline="6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1" name="Rectangle 203">
            <a:extLst>
              <a:ext uri="{FF2B5EF4-FFF2-40B4-BE49-F238E27FC236}"/>
            </a:extLst>
          </p:cNvPr>
          <p:cNvSpPr/>
          <p:nvPr/>
        </p:nvSpPr>
        <p:spPr>
          <a:xfrm>
            <a:off x="9551988" y="3092450"/>
            <a:ext cx="930275" cy="420688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2" name="Rectangle 203">
            <a:extLst>
              <a:ext uri="{FF2B5EF4-FFF2-40B4-BE49-F238E27FC236}"/>
            </a:extLst>
          </p:cNvPr>
          <p:cNvSpPr/>
          <p:nvPr/>
        </p:nvSpPr>
        <p:spPr>
          <a:xfrm>
            <a:off x="9551988" y="3584575"/>
            <a:ext cx="930275" cy="417513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3" name="Rectangle 203">
            <a:extLst>
              <a:ext uri="{FF2B5EF4-FFF2-40B4-BE49-F238E27FC236}"/>
            </a:extLst>
          </p:cNvPr>
          <p:cNvSpPr/>
          <p:nvPr/>
        </p:nvSpPr>
        <p:spPr>
          <a:xfrm>
            <a:off x="9551988" y="4071938"/>
            <a:ext cx="930275" cy="417512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baseline="3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4" name="Rectangle 203">
            <a:extLst>
              <a:ext uri="{FF2B5EF4-FFF2-40B4-BE49-F238E27FC236}"/>
            </a:extLst>
          </p:cNvPr>
          <p:cNvSpPr/>
          <p:nvPr/>
        </p:nvSpPr>
        <p:spPr>
          <a:xfrm>
            <a:off x="9550400" y="4595813"/>
            <a:ext cx="931863" cy="417512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endParaRPr lang="en-US" sz="1400" baseline="6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5" name="Ορθογώνιο 84"/>
          <p:cNvSpPr/>
          <p:nvPr/>
        </p:nvSpPr>
        <p:spPr>
          <a:xfrm>
            <a:off x="8866188" y="4619625"/>
            <a:ext cx="366712" cy="3698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endParaRPr lang="en-US" sz="1200" baseline="6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6" name="Rectangle 227">
            <a:extLst>
              <a:ext uri="{FF2B5EF4-FFF2-40B4-BE49-F238E27FC236}"/>
            </a:extLst>
          </p:cNvPr>
          <p:cNvSpPr/>
          <p:nvPr/>
        </p:nvSpPr>
        <p:spPr>
          <a:xfrm>
            <a:off x="10564813" y="1789113"/>
            <a:ext cx="844550" cy="411162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000" b="1" dirty="0">
                <a:solidFill>
                  <a:schemeClr val="bg1"/>
                </a:solidFill>
                <a:latin typeface="Arial" panose="020B0604020202020204" pitchFamily="34" charset="0"/>
                <a:cs typeface="Arabic Typesetting" panose="03020402040406030203" pitchFamily="66" charset="-78"/>
              </a:rPr>
              <a:t>Λοιποί εργαζόμενοι</a:t>
            </a:r>
            <a:endParaRPr lang="en-US" sz="1000" b="1" dirty="0">
              <a:solidFill>
                <a:schemeClr val="bg1"/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7" name="Rectangle 203">
            <a:extLst>
              <a:ext uri="{FF2B5EF4-FFF2-40B4-BE49-F238E27FC236}"/>
            </a:extLst>
          </p:cNvPr>
          <p:cNvSpPr/>
          <p:nvPr/>
        </p:nvSpPr>
        <p:spPr>
          <a:xfrm>
            <a:off x="10563225" y="2247900"/>
            <a:ext cx="836613" cy="2921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9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</a:rPr>
              <a:t>Εξωτερικοί χώροι</a:t>
            </a:r>
            <a:endParaRPr lang="en-US" sz="900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8" name="Rectangle 203">
            <a:extLst>
              <a:ext uri="{FF2B5EF4-FFF2-40B4-BE49-F238E27FC236}"/>
            </a:extLst>
          </p:cNvPr>
          <p:cNvSpPr/>
          <p:nvPr/>
        </p:nvSpPr>
        <p:spPr>
          <a:xfrm>
            <a:off x="10548938" y="2597150"/>
            <a:ext cx="850900" cy="412750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r>
              <a:rPr lang="el-GR" sz="1200" baseline="6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6</a:t>
            </a:r>
            <a:endParaRPr lang="en-US" sz="1400" baseline="6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89" name="Rectangle 203">
            <a:extLst>
              <a:ext uri="{FF2B5EF4-FFF2-40B4-BE49-F238E27FC236}"/>
            </a:extLst>
          </p:cNvPr>
          <p:cNvSpPr/>
          <p:nvPr/>
        </p:nvSpPr>
        <p:spPr>
          <a:xfrm>
            <a:off x="10561638" y="3092450"/>
            <a:ext cx="838200" cy="420688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90" name="Rectangle 203">
            <a:extLst>
              <a:ext uri="{FF2B5EF4-FFF2-40B4-BE49-F238E27FC236}"/>
            </a:extLst>
          </p:cNvPr>
          <p:cNvSpPr/>
          <p:nvPr/>
        </p:nvSpPr>
        <p:spPr>
          <a:xfrm>
            <a:off x="10561638" y="3584575"/>
            <a:ext cx="825500" cy="417513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r>
              <a:rPr lang="el-GR" sz="1200" baseline="600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5</a:t>
            </a:r>
            <a:endParaRPr lang="en-US" sz="1400" baseline="6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91" name="Rectangle 203">
            <a:extLst>
              <a:ext uri="{FF2B5EF4-FFF2-40B4-BE49-F238E27FC236}"/>
            </a:extLst>
          </p:cNvPr>
          <p:cNvSpPr/>
          <p:nvPr/>
        </p:nvSpPr>
        <p:spPr>
          <a:xfrm>
            <a:off x="10560050" y="4071938"/>
            <a:ext cx="827088" cy="417512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baseline="3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92" name="Rectangle 203">
            <a:extLst>
              <a:ext uri="{FF2B5EF4-FFF2-40B4-BE49-F238E27FC236}"/>
            </a:extLst>
          </p:cNvPr>
          <p:cNvSpPr/>
          <p:nvPr/>
        </p:nvSpPr>
        <p:spPr>
          <a:xfrm>
            <a:off x="10558463" y="4595813"/>
            <a:ext cx="825500" cy="417512"/>
          </a:xfrm>
          <a:prstGeom prst="rect">
            <a:avLst/>
          </a:prstGeom>
          <a:solidFill>
            <a:schemeClr val="bg1"/>
          </a:solidFill>
          <a:ln>
            <a:solidFill>
              <a:srgbClr val="41719C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endParaRPr lang="en-US" sz="1400" baseline="6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  <p:sp>
        <p:nvSpPr>
          <p:cNvPr id="351252" name="3 - TextBox"/>
          <p:cNvSpPr txBox="1">
            <a:spLocks noChangeArrowheads="1"/>
          </p:cNvSpPr>
          <p:nvPr/>
        </p:nvSpPr>
        <p:spPr bwMode="auto">
          <a:xfrm>
            <a:off x="506413" y="1290638"/>
            <a:ext cx="1072991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2000" b="1">
                <a:solidFill>
                  <a:srgbClr val="002060"/>
                </a:solidFill>
                <a:latin typeface="Calibri" pitchFamily="34" charset="0"/>
              </a:rPr>
              <a:t>Μέτρα προστασίας / Προστατευτικός εξοπλισμός σε χώρους μαζικής εστίασης</a:t>
            </a:r>
          </a:p>
        </p:txBody>
      </p:sp>
      <p:sp>
        <p:nvSpPr>
          <p:cNvPr id="2" name="Ορθογώνιο 1"/>
          <p:cNvSpPr/>
          <p:nvPr/>
        </p:nvSpPr>
        <p:spPr>
          <a:xfrm>
            <a:off x="8866188" y="3590925"/>
            <a:ext cx="366712" cy="3698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cs typeface="Arabic Typesetting" panose="03020402040406030203" pitchFamily="66" charset="-78"/>
                <a:sym typeface="Wingdings" panose="05000000000000000000" pitchFamily="2" charset="2"/>
              </a:rPr>
              <a:t></a:t>
            </a:r>
            <a:endParaRPr lang="en-US" sz="1200" baseline="600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  <a:cs typeface="Arabic Typesetting" panose="03020402040406030203" pitchFamily="66" charset="-78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Diagonal Corners Snipped 10">
            <a:extLst>
              <a:ext uri="{FF2B5EF4-FFF2-40B4-BE49-F238E27FC236}"/>
            </a:extLst>
          </p:cNvPr>
          <p:cNvSpPr/>
          <p:nvPr/>
        </p:nvSpPr>
        <p:spPr>
          <a:xfrm>
            <a:off x="425450" y="547688"/>
            <a:ext cx="10987088" cy="874712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l-GR" sz="2400">
                <a:solidFill>
                  <a:schemeClr val="bg1"/>
                </a:solidFill>
                <a:latin typeface="Calibri" pitchFamily="34" charset="0"/>
                <a:sym typeface="Georgia" pitchFamily="18" charset="0"/>
              </a:rPr>
              <a:t>Όργανα Ελέγχου και Επιβολής Κυρώσεων </a:t>
            </a:r>
          </a:p>
        </p:txBody>
      </p:sp>
      <p:sp>
        <p:nvSpPr>
          <p:cNvPr id="67" name="TextBox 66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3203575" y="1958975"/>
            <a:ext cx="7023100" cy="72072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Γενική Γραμματεία Εμπορίου και Προστασίας Καταναλωτή </a:t>
            </a: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0" name="Rectangle: Diagonal Corners Snipped 29">
            <a:extLst>
              <a:ext uri="{FF2B5EF4-FFF2-40B4-BE49-F238E27FC236}"/>
            </a:extLst>
          </p:cNvPr>
          <p:cNvSpPr/>
          <p:nvPr/>
        </p:nvSpPr>
        <p:spPr>
          <a:xfrm>
            <a:off x="1747838" y="1958975"/>
            <a:ext cx="1223962" cy="720725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lIns="80669" tIns="80669" rIns="242029" bIns="8066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bg1"/>
                </a:solidFill>
                <a:latin typeface="+mn-lt"/>
                <a:cs typeface="+mn-cs"/>
                <a:sym typeface="Georgia"/>
              </a:rPr>
              <a:t>1</a:t>
            </a:r>
            <a:endParaRPr lang="el-GR" sz="2400" b="1" dirty="0">
              <a:solidFill>
                <a:schemeClr val="bg1"/>
              </a:solidFill>
              <a:latin typeface="+mn-lt"/>
              <a:cs typeface="+mn-cs"/>
              <a:sym typeface="Georgia"/>
            </a:endParaRPr>
          </a:p>
        </p:txBody>
      </p:sp>
      <p:sp>
        <p:nvSpPr>
          <p:cNvPr id="31" name="Rectangle: Diagonal Corners Snipped 30">
            <a:extLst>
              <a:ext uri="{FF2B5EF4-FFF2-40B4-BE49-F238E27FC236}"/>
            </a:extLst>
          </p:cNvPr>
          <p:cNvSpPr/>
          <p:nvPr/>
        </p:nvSpPr>
        <p:spPr>
          <a:xfrm>
            <a:off x="1747838" y="2787650"/>
            <a:ext cx="1223962" cy="720725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lIns="80669" tIns="80669" rIns="242029" bIns="8066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bg1"/>
                </a:solidFill>
                <a:latin typeface="+mn-lt"/>
                <a:cs typeface="+mn-cs"/>
                <a:sym typeface="Georgia"/>
              </a:rPr>
              <a:t>2</a:t>
            </a:r>
            <a:endParaRPr lang="el-GR" sz="2400" b="1" dirty="0">
              <a:solidFill>
                <a:schemeClr val="bg1"/>
              </a:solidFill>
              <a:latin typeface="+mn-lt"/>
              <a:cs typeface="+mn-cs"/>
              <a:sym typeface="Georgia"/>
            </a:endParaRPr>
          </a:p>
        </p:txBody>
      </p:sp>
      <p:sp>
        <p:nvSpPr>
          <p:cNvPr id="32" name="Rectangle: Diagonal Corners Snipped 31">
            <a:extLst>
              <a:ext uri="{FF2B5EF4-FFF2-40B4-BE49-F238E27FC236}"/>
            </a:extLst>
          </p:cNvPr>
          <p:cNvSpPr/>
          <p:nvPr/>
        </p:nvSpPr>
        <p:spPr>
          <a:xfrm>
            <a:off x="1747838" y="3616325"/>
            <a:ext cx="1223962" cy="720725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lIns="80669" tIns="80669" rIns="242029" bIns="8066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bg1"/>
                </a:solidFill>
                <a:latin typeface="+mn-lt"/>
                <a:cs typeface="+mn-cs"/>
                <a:sym typeface="Georgia"/>
              </a:rPr>
              <a:t>3</a:t>
            </a:r>
            <a:endParaRPr lang="el-GR" sz="2400" b="1" dirty="0">
              <a:solidFill>
                <a:schemeClr val="bg1"/>
              </a:solidFill>
              <a:latin typeface="+mn-lt"/>
              <a:cs typeface="+mn-cs"/>
              <a:sym typeface="Georgia"/>
            </a:endParaRPr>
          </a:p>
        </p:txBody>
      </p:sp>
      <p:sp>
        <p:nvSpPr>
          <p:cNvPr id="33" name="Rectangle: Diagonal Corners Snipped 32">
            <a:extLst>
              <a:ext uri="{FF2B5EF4-FFF2-40B4-BE49-F238E27FC236}"/>
            </a:extLst>
          </p:cNvPr>
          <p:cNvSpPr/>
          <p:nvPr/>
        </p:nvSpPr>
        <p:spPr>
          <a:xfrm>
            <a:off x="1747838" y="4446588"/>
            <a:ext cx="1223962" cy="719137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lIns="80669" tIns="80669" rIns="242029" bIns="8066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bg1"/>
                </a:solidFill>
                <a:latin typeface="+mn-lt"/>
                <a:cs typeface="+mn-cs"/>
                <a:sym typeface="Georgia"/>
              </a:rPr>
              <a:t>4</a:t>
            </a:r>
            <a:endParaRPr lang="el-GR" sz="2400" b="1" dirty="0">
              <a:solidFill>
                <a:schemeClr val="bg1"/>
              </a:solidFill>
              <a:latin typeface="+mn-lt"/>
              <a:cs typeface="+mn-cs"/>
              <a:sym typeface="Georgia"/>
            </a:endParaRPr>
          </a:p>
        </p:txBody>
      </p:sp>
      <p:sp>
        <p:nvSpPr>
          <p:cNvPr id="34" name="Rectangle: Diagonal Corners Snipped 33">
            <a:extLst>
              <a:ext uri="{FF2B5EF4-FFF2-40B4-BE49-F238E27FC236}"/>
            </a:extLst>
          </p:cNvPr>
          <p:cNvSpPr/>
          <p:nvPr/>
        </p:nvSpPr>
        <p:spPr>
          <a:xfrm>
            <a:off x="1747838" y="5275263"/>
            <a:ext cx="1223962" cy="719137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lIns="80669" tIns="80669" rIns="242029" bIns="8066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bg1"/>
                </a:solidFill>
                <a:latin typeface="+mn-lt"/>
                <a:cs typeface="+mn-cs"/>
                <a:sym typeface="Georgia"/>
              </a:rPr>
              <a:t>5</a:t>
            </a:r>
            <a:endParaRPr lang="el-GR" sz="2400" b="1" dirty="0">
              <a:solidFill>
                <a:schemeClr val="bg1"/>
              </a:solidFill>
              <a:latin typeface="+mn-lt"/>
              <a:cs typeface="+mn-cs"/>
              <a:sym typeface="Georgia"/>
            </a:endParaRPr>
          </a:p>
        </p:txBody>
      </p:sp>
      <p:sp>
        <p:nvSpPr>
          <p:cNvPr id="35" name="TextBox 34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3203575" y="2787650"/>
            <a:ext cx="7023100" cy="72072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Ελληνική Αστυνομία</a:t>
            </a: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Δημοτική </a:t>
            </a:r>
            <a:r>
              <a:rPr lang="el-GR" sz="1500" b="1" dirty="0" smtClean="0">
                <a:cs typeface="Times New Roman" panose="02020603050405020304" pitchFamily="18" charset="0"/>
              </a:rPr>
              <a:t>Αστυνομία</a:t>
            </a: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500" b="1" dirty="0" smtClean="0">
                <a:cs typeface="Times New Roman" panose="02020603050405020304" pitchFamily="18" charset="0"/>
              </a:rPr>
              <a:t>Λιμενικές Αρχές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6" name="TextBox 35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3203575" y="3616325"/>
            <a:ext cx="7023100" cy="72072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 smtClean="0">
                <a:cs typeface="Times New Roman" panose="02020603050405020304" pitchFamily="18" charset="0"/>
              </a:rPr>
              <a:t>Υγειονομικές υπηρεσίες των ΟΤΑ </a:t>
            </a:r>
            <a:r>
              <a:rPr lang="el-GR" sz="1500" b="1" dirty="0" err="1" smtClean="0">
                <a:cs typeface="Times New Roman" panose="02020603050405020304" pitchFamily="18" charset="0"/>
              </a:rPr>
              <a:t>α΄</a:t>
            </a:r>
            <a:r>
              <a:rPr lang="el-GR" sz="1500" b="1" dirty="0" smtClean="0">
                <a:cs typeface="Times New Roman" panose="02020603050405020304" pitchFamily="18" charset="0"/>
              </a:rPr>
              <a:t> και </a:t>
            </a:r>
            <a:r>
              <a:rPr lang="el-GR" sz="1500" b="1" dirty="0" err="1" smtClean="0">
                <a:cs typeface="Times New Roman" panose="02020603050405020304" pitchFamily="18" charset="0"/>
              </a:rPr>
              <a:t>β΄</a:t>
            </a:r>
            <a:r>
              <a:rPr lang="el-GR" sz="1500" b="1" dirty="0" smtClean="0">
                <a:cs typeface="Times New Roman" panose="02020603050405020304" pitchFamily="18" charset="0"/>
              </a:rPr>
              <a:t> βαθμού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7" name="TextBox 36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3203575" y="4446588"/>
            <a:ext cx="7023100" cy="71913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Σώμα Επιθεώρησης Εργασίας (Σ.ΕΠ.Ε)</a:t>
            </a: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8" name="TextBox 37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3203575" y="5275263"/>
            <a:ext cx="7023100" cy="71913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 smtClean="0">
                <a:cs typeface="Times New Roman" panose="02020603050405020304" pitchFamily="18" charset="0"/>
              </a:rPr>
              <a:t>Εθνική Αρχή Διαφάνειας (Ε.Α.Δ.)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52268" name="Slide Number Placeholder 1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ts val="900"/>
            </a:pPr>
            <a:fld id="{E1451812-A5B5-43C1-9D06-F0B8A4726609}" type="slidenum">
              <a: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ts val="900"/>
              </a:pPr>
              <a:t>21</a:t>
            </a:fld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5537" name="Object 43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5537" name="think-cell Slide" r:id="rId4" imgW="360" imgH="360" progId="">
              <p:embed/>
            </p:oleObj>
          </a:graphicData>
        </a:graphic>
      </p:graphicFrame>
      <p:sp>
        <p:nvSpPr>
          <p:cNvPr id="3" name="Title 1">
            <a:extLst>
              <a:ext uri="{FF2B5EF4-FFF2-40B4-BE49-F238E27FC236}"/>
            </a:extLst>
          </p:cNvPr>
          <p:cNvSpPr txBox="1">
            <a:spLocks/>
          </p:cNvSpPr>
          <p:nvPr/>
        </p:nvSpPr>
        <p:spPr>
          <a:xfrm>
            <a:off x="-727075" y="5368925"/>
            <a:ext cx="7442200" cy="1184275"/>
          </a:xfrm>
          <a:prstGeom prst="rect">
            <a:avLst/>
          </a:prstGeom>
        </p:spPr>
        <p:txBody>
          <a:bodyPr/>
          <a:lstStyle/>
          <a:p>
            <a:pPr algn="ctr">
              <a:lnSpc>
                <a:spcPct val="120000"/>
              </a:lnSpc>
            </a:pPr>
            <a:r>
              <a:rPr lang="el-GR" sz="2800">
                <a:solidFill>
                  <a:srgbClr val="072C62"/>
                </a:solidFill>
                <a:latin typeface="Helvetica Neue"/>
                <a:sym typeface="Georgia" pitchFamily="18" charset="0"/>
              </a:rPr>
              <a:t>Υπουργείο </a:t>
            </a:r>
          </a:p>
          <a:p>
            <a:pPr algn="ctr">
              <a:lnSpc>
                <a:spcPct val="120000"/>
              </a:lnSpc>
            </a:pPr>
            <a:r>
              <a:rPr lang="el-GR" sz="2800">
                <a:solidFill>
                  <a:srgbClr val="072C62"/>
                </a:solidFill>
                <a:latin typeface="Helvetica Neue"/>
                <a:sym typeface="Georgia" pitchFamily="18" charset="0"/>
              </a:rPr>
              <a:t>Ανάπτυξης και Επενδύσεων</a:t>
            </a:r>
          </a:p>
          <a:p>
            <a:pPr algn="ctr">
              <a:lnSpc>
                <a:spcPct val="120000"/>
              </a:lnSpc>
            </a:pPr>
            <a:r>
              <a:rPr lang="el-GR" sz="1600">
                <a:solidFill>
                  <a:srgbClr val="072C62"/>
                </a:solidFill>
                <a:latin typeface="Helvetica Neue"/>
                <a:sym typeface="Georgia" pitchFamily="18" charset="0"/>
              </a:rPr>
              <a:t/>
            </a:r>
            <a:br>
              <a:rPr lang="el-GR" sz="1600">
                <a:solidFill>
                  <a:srgbClr val="072C62"/>
                </a:solidFill>
                <a:latin typeface="Helvetica Neue"/>
                <a:sym typeface="Georgia" pitchFamily="18" charset="0"/>
              </a:rPr>
            </a:br>
            <a:r>
              <a:rPr lang="el-GR" sz="1600">
                <a:solidFill>
                  <a:srgbClr val="072C62"/>
                </a:solidFill>
                <a:latin typeface="Helvetica Neue"/>
                <a:sym typeface="Georgia" pitchFamily="18" charset="0"/>
              </a:rPr>
              <a:t/>
            </a:r>
            <a:br>
              <a:rPr lang="el-GR" sz="1600">
                <a:solidFill>
                  <a:srgbClr val="072C62"/>
                </a:solidFill>
                <a:latin typeface="Helvetica Neue"/>
                <a:sym typeface="Georgia" pitchFamily="18" charset="0"/>
              </a:rPr>
            </a:br>
            <a:r>
              <a:rPr lang="en-US" sz="1600">
                <a:solidFill>
                  <a:srgbClr val="072C62"/>
                </a:solidFill>
                <a:latin typeface="Helvetica Neue"/>
                <a:sym typeface="Georgia" pitchFamily="18" charset="0"/>
              </a:rPr>
              <a:t/>
            </a:r>
            <a:br>
              <a:rPr lang="en-US" sz="1600">
                <a:solidFill>
                  <a:srgbClr val="072C62"/>
                </a:solidFill>
                <a:latin typeface="Helvetica Neue"/>
                <a:sym typeface="Georgia" pitchFamily="18" charset="0"/>
              </a:rPr>
            </a:br>
            <a:r>
              <a:rPr lang="en-US" sz="1600">
                <a:solidFill>
                  <a:srgbClr val="072C62"/>
                </a:solidFill>
                <a:latin typeface="Helvetica Neue"/>
                <a:sym typeface="Georgia" pitchFamily="18" charset="0"/>
              </a:rPr>
              <a:t/>
            </a:r>
            <a:br>
              <a:rPr lang="en-US" sz="1600">
                <a:solidFill>
                  <a:srgbClr val="072C62"/>
                </a:solidFill>
                <a:latin typeface="Helvetica Neue"/>
                <a:sym typeface="Georgia" pitchFamily="18" charset="0"/>
              </a:rPr>
            </a:br>
            <a:endParaRPr lang="el-GR" sz="1600">
              <a:solidFill>
                <a:srgbClr val="072C62"/>
              </a:solidFill>
              <a:latin typeface="Helvetica Neue"/>
              <a:sym typeface="Georgia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7941" name="Object 197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87941" name="think-cell Slide" r:id="rId5" imgW="360" imgH="360" progId="">
              <p:embed/>
            </p:oleObj>
          </a:graphicData>
        </a:graphic>
      </p:graphicFrame>
      <p:sp>
        <p:nvSpPr>
          <p:cNvPr id="27" name="Rectangle: Diagonal Corners Snipped 26">
            <a:extLst>
              <a:ext uri="{FF2B5EF4-FFF2-40B4-BE49-F238E27FC236}"/>
            </a:extLst>
          </p:cNvPr>
          <p:cNvSpPr/>
          <p:nvPr/>
        </p:nvSpPr>
        <p:spPr>
          <a:xfrm>
            <a:off x="200025" y="544513"/>
            <a:ext cx="7478713" cy="874712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l-GR" sz="2400" b="1">
                <a:solidFill>
                  <a:schemeClr val="bg1"/>
                </a:solidFill>
                <a:latin typeface="Calibri" pitchFamily="34" charset="0"/>
                <a:sym typeface="Georgia" pitchFamily="18" charset="0"/>
              </a:rPr>
              <a:t>3</a:t>
            </a:r>
            <a:r>
              <a:rPr lang="en-GB" sz="2400" b="1">
                <a:solidFill>
                  <a:schemeClr val="bg1"/>
                </a:solidFill>
                <a:latin typeface="Calibri" pitchFamily="34" charset="0"/>
                <a:sym typeface="Georgia" pitchFamily="18" charset="0"/>
              </a:rPr>
              <a:t>o </a:t>
            </a:r>
            <a:r>
              <a:rPr lang="el-GR" sz="2400" b="1">
                <a:solidFill>
                  <a:schemeClr val="bg1"/>
                </a:solidFill>
                <a:latin typeface="Calibri" pitchFamily="34" charset="0"/>
                <a:sym typeface="Georgia" pitchFamily="18" charset="0"/>
              </a:rPr>
              <a:t>Στάδιο – 18 Μαΐου</a:t>
            </a:r>
          </a:p>
        </p:txBody>
      </p:sp>
      <p:sp>
        <p:nvSpPr>
          <p:cNvPr id="4" name="Slide Number Placeholder 3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4791652-3770-491E-B46A-AA6BB038BDA5}" type="slidenum">
              <a:rPr lang="en-US"/>
              <a:pPr>
                <a:defRPr/>
              </a:pPr>
              <a:t>3</a:t>
            </a:fld>
            <a:endParaRPr lang="en-US" dirty="0"/>
          </a:p>
        </p:txBody>
      </p:sp>
      <p:grpSp>
        <p:nvGrpSpPr>
          <p:cNvPr id="287944" name="40 - Ομάδα"/>
          <p:cNvGrpSpPr>
            <a:grpSpLocks/>
          </p:cNvGrpSpPr>
          <p:nvPr/>
        </p:nvGrpSpPr>
        <p:grpSpPr bwMode="auto">
          <a:xfrm>
            <a:off x="274638" y="1855788"/>
            <a:ext cx="11530012" cy="3900487"/>
            <a:chOff x="-13299" y="1741548"/>
            <a:chExt cx="11739085" cy="3971029"/>
          </a:xfrm>
        </p:grpSpPr>
        <p:sp>
          <p:nvSpPr>
            <p:cNvPr id="287955" name="Rectangle 28"/>
            <p:cNvSpPr>
              <a:spLocks noChangeArrowheads="1"/>
            </p:cNvSpPr>
            <p:nvPr/>
          </p:nvSpPr>
          <p:spPr bwMode="auto">
            <a:xfrm>
              <a:off x="1315989" y="2377489"/>
              <a:ext cx="3373576" cy="7078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l-GR" sz="2000" b="1">
                  <a:solidFill>
                    <a:schemeClr val="bg1"/>
                  </a:solidFill>
                  <a:latin typeface="Calibri" pitchFamily="34" charset="0"/>
                </a:rPr>
                <a:t>Λιανικό Εμπόριο</a:t>
              </a:r>
            </a:p>
            <a:p>
              <a:r>
                <a:rPr lang="el-GR" sz="2000" b="1">
                  <a:solidFill>
                    <a:schemeClr val="bg1"/>
                  </a:solidFill>
                  <a:latin typeface="Calibri" pitchFamily="34" charset="0"/>
                </a:rPr>
                <a:t> </a:t>
              </a:r>
            </a:p>
          </p:txBody>
        </p:sp>
        <p:sp>
          <p:nvSpPr>
            <p:cNvPr id="31" name="Rectangle 30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549169" y="2877744"/>
              <a:ext cx="3239037" cy="157742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342900" indent="-342900" fontAlgn="auto">
                <a:spcBef>
                  <a:spcPts val="0"/>
                </a:spcBef>
                <a:spcAft>
                  <a:spcPts val="0"/>
                </a:spcAft>
                <a:buFont typeface="Wingdings" panose="05000000000000000000" pitchFamily="2" charset="2"/>
                <a:buChar char="q"/>
                <a:defRPr/>
              </a:pPr>
              <a:r>
                <a:rPr lang="el-GR" sz="1600" dirty="0">
                  <a:solidFill>
                    <a:schemeClr val="bg1"/>
                  </a:solidFill>
                  <a:latin typeface="+mn-lt"/>
                  <a:cs typeface="+mn-cs"/>
                </a:rPr>
                <a:t>Λιανικό εμπόριο σε  μη εξειδικευμένα καταστήματα </a:t>
              </a:r>
              <a:r>
                <a:rPr lang="en-US" sz="1600" dirty="0">
                  <a:solidFill>
                    <a:schemeClr val="bg1"/>
                  </a:solidFill>
                  <a:latin typeface="+mn-lt"/>
                  <a:cs typeface="+mn-cs"/>
                </a:rPr>
                <a:t>      </a:t>
              </a:r>
              <a:r>
                <a:rPr lang="el-GR" sz="1600" dirty="0">
                  <a:solidFill>
                    <a:schemeClr val="bg1"/>
                  </a:solidFill>
                  <a:latin typeface="+mn-lt"/>
                  <a:cs typeface="+mn-cs"/>
                </a:rPr>
                <a:t>(σε εμπορικά κέντρα (</a:t>
              </a:r>
              <a:r>
                <a:rPr lang="en-US" sz="1600" dirty="0">
                  <a:solidFill>
                    <a:schemeClr val="bg1"/>
                  </a:solidFill>
                  <a:latin typeface="+mn-lt"/>
                  <a:cs typeface="+mn-cs"/>
                </a:rPr>
                <a:t>malls), </a:t>
              </a:r>
              <a:r>
                <a:rPr lang="el-GR" sz="1600" dirty="0">
                  <a:solidFill>
                    <a:schemeClr val="bg1"/>
                  </a:solidFill>
                  <a:latin typeface="+mn-lt"/>
                  <a:cs typeface="+mn-cs"/>
                </a:rPr>
                <a:t>εκπτωτικά χωριά, εκπτωτικά καταστήματα (</a:t>
              </a:r>
              <a:r>
                <a:rPr lang="en-US" sz="1600" dirty="0">
                  <a:solidFill>
                    <a:schemeClr val="bg1"/>
                  </a:solidFill>
                  <a:latin typeface="+mn-lt"/>
                  <a:cs typeface="+mn-cs"/>
                </a:rPr>
                <a:t>outlet)</a:t>
              </a:r>
              <a:r>
                <a:rPr lang="el-GR" sz="1600" dirty="0">
                  <a:solidFill>
                    <a:schemeClr val="bg1"/>
                  </a:solidFill>
                  <a:latin typeface="+mn-lt"/>
                  <a:cs typeface="+mn-cs"/>
                </a:rPr>
                <a:t>).</a:t>
              </a:r>
            </a:p>
            <a:p>
              <a:pPr marL="77788" indent="-3429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l-GR" sz="1700" dirty="0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sp>
          <p:nvSpPr>
            <p:cNvPr id="287957" name="Freeform 106"/>
            <p:cNvSpPr>
              <a:spLocks noEditPoints="1"/>
            </p:cNvSpPr>
            <p:nvPr/>
          </p:nvSpPr>
          <p:spPr bwMode="auto">
            <a:xfrm>
              <a:off x="647923" y="2246812"/>
              <a:ext cx="534228" cy="534228"/>
            </a:xfrm>
            <a:custGeom>
              <a:avLst/>
              <a:gdLst>
                <a:gd name="T0" fmla="*/ 411801 w 192"/>
                <a:gd name="T1" fmla="*/ 86256 h 192"/>
                <a:gd name="T2" fmla="*/ 411801 w 192"/>
                <a:gd name="T3" fmla="*/ 0 h 192"/>
                <a:gd name="T4" fmla="*/ 122427 w 192"/>
                <a:gd name="T5" fmla="*/ 0 h 192"/>
                <a:gd name="T6" fmla="*/ 122427 w 192"/>
                <a:gd name="T7" fmla="*/ 86256 h 192"/>
                <a:gd name="T8" fmla="*/ 0 w 192"/>
                <a:gd name="T9" fmla="*/ 86256 h 192"/>
                <a:gd name="T10" fmla="*/ 0 w 192"/>
                <a:gd name="T11" fmla="*/ 214248 h 192"/>
                <a:gd name="T12" fmla="*/ 0 w 192"/>
                <a:gd name="T13" fmla="*/ 534228 h 192"/>
                <a:gd name="T14" fmla="*/ 431278 w 192"/>
                <a:gd name="T15" fmla="*/ 534228 h 192"/>
                <a:gd name="T16" fmla="*/ 534228 w 192"/>
                <a:gd name="T17" fmla="*/ 534228 h 192"/>
                <a:gd name="T18" fmla="*/ 534228 w 192"/>
                <a:gd name="T19" fmla="*/ 86256 h 192"/>
                <a:gd name="T20" fmla="*/ 411801 w 192"/>
                <a:gd name="T21" fmla="*/ 86256 h 192"/>
                <a:gd name="T22" fmla="*/ 144687 w 192"/>
                <a:gd name="T23" fmla="*/ 22260 h 192"/>
                <a:gd name="T24" fmla="*/ 389541 w 192"/>
                <a:gd name="T25" fmla="*/ 22260 h 192"/>
                <a:gd name="T26" fmla="*/ 389541 w 192"/>
                <a:gd name="T27" fmla="*/ 86256 h 192"/>
                <a:gd name="T28" fmla="*/ 144687 w 192"/>
                <a:gd name="T29" fmla="*/ 86256 h 192"/>
                <a:gd name="T30" fmla="*/ 144687 w 192"/>
                <a:gd name="T31" fmla="*/ 22260 h 192"/>
                <a:gd name="T32" fmla="*/ 22260 w 192"/>
                <a:gd name="T33" fmla="*/ 511969 h 192"/>
                <a:gd name="T34" fmla="*/ 22260 w 192"/>
                <a:gd name="T35" fmla="*/ 278244 h 192"/>
                <a:gd name="T36" fmla="*/ 72343 w 192"/>
                <a:gd name="T37" fmla="*/ 278244 h 192"/>
                <a:gd name="T38" fmla="*/ 358934 w 192"/>
                <a:gd name="T39" fmla="*/ 278244 h 192"/>
                <a:gd name="T40" fmla="*/ 409018 w 192"/>
                <a:gd name="T41" fmla="*/ 278244 h 192"/>
                <a:gd name="T42" fmla="*/ 409018 w 192"/>
                <a:gd name="T43" fmla="*/ 511969 h 192"/>
                <a:gd name="T44" fmla="*/ 22260 w 192"/>
                <a:gd name="T45" fmla="*/ 511969 h 192"/>
                <a:gd name="T46" fmla="*/ 94603 w 192"/>
                <a:gd name="T47" fmla="*/ 255984 h 192"/>
                <a:gd name="T48" fmla="*/ 169729 w 192"/>
                <a:gd name="T49" fmla="*/ 191988 h 192"/>
                <a:gd name="T50" fmla="*/ 261549 w 192"/>
                <a:gd name="T51" fmla="*/ 191988 h 192"/>
                <a:gd name="T52" fmla="*/ 336675 w 192"/>
                <a:gd name="T53" fmla="*/ 255984 h 192"/>
                <a:gd name="T54" fmla="*/ 94603 w 192"/>
                <a:gd name="T55" fmla="*/ 255984 h 192"/>
                <a:gd name="T56" fmla="*/ 511969 w 192"/>
                <a:gd name="T57" fmla="*/ 511969 h 192"/>
                <a:gd name="T58" fmla="*/ 431278 w 192"/>
                <a:gd name="T59" fmla="*/ 511969 h 192"/>
                <a:gd name="T60" fmla="*/ 431278 w 192"/>
                <a:gd name="T61" fmla="*/ 255984 h 192"/>
                <a:gd name="T62" fmla="*/ 358934 w 192"/>
                <a:gd name="T63" fmla="*/ 255984 h 192"/>
                <a:gd name="T64" fmla="*/ 261549 w 192"/>
                <a:gd name="T65" fmla="*/ 169729 h 192"/>
                <a:gd name="T66" fmla="*/ 169729 w 192"/>
                <a:gd name="T67" fmla="*/ 169729 h 192"/>
                <a:gd name="T68" fmla="*/ 72343 w 192"/>
                <a:gd name="T69" fmla="*/ 255984 h 192"/>
                <a:gd name="T70" fmla="*/ 22260 w 192"/>
                <a:gd name="T71" fmla="*/ 255984 h 192"/>
                <a:gd name="T72" fmla="*/ 22260 w 192"/>
                <a:gd name="T73" fmla="*/ 111298 h 192"/>
                <a:gd name="T74" fmla="*/ 511969 w 192"/>
                <a:gd name="T75" fmla="*/ 111298 h 192"/>
                <a:gd name="T76" fmla="*/ 511969 w 192"/>
                <a:gd name="T77" fmla="*/ 511969 h 19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92"/>
                <a:gd name="T118" fmla="*/ 0 h 192"/>
                <a:gd name="T119" fmla="*/ 192 w 192"/>
                <a:gd name="T120" fmla="*/ 192 h 19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92" h="192">
                  <a:moveTo>
                    <a:pt x="148" y="31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55" y="192"/>
                    <a:pt x="155" y="192"/>
                    <a:pt x="155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31"/>
                    <a:pt x="192" y="31"/>
                    <a:pt x="192" y="31"/>
                  </a:cubicBezTo>
                  <a:lnTo>
                    <a:pt x="148" y="31"/>
                  </a:lnTo>
                  <a:close/>
                  <a:moveTo>
                    <a:pt x="52" y="8"/>
                  </a:moveTo>
                  <a:cubicBezTo>
                    <a:pt x="140" y="8"/>
                    <a:pt x="140" y="8"/>
                    <a:pt x="140" y="8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52" y="31"/>
                    <a:pt x="52" y="31"/>
                    <a:pt x="52" y="31"/>
                  </a:cubicBezTo>
                  <a:lnTo>
                    <a:pt x="52" y="8"/>
                  </a:lnTo>
                  <a:close/>
                  <a:moveTo>
                    <a:pt x="8" y="184"/>
                  </a:moveTo>
                  <a:cubicBezTo>
                    <a:pt x="8" y="100"/>
                    <a:pt x="8" y="100"/>
                    <a:pt x="8" y="100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47" y="100"/>
                    <a:pt x="147" y="100"/>
                    <a:pt x="147" y="100"/>
                  </a:cubicBezTo>
                  <a:cubicBezTo>
                    <a:pt x="147" y="184"/>
                    <a:pt x="147" y="184"/>
                    <a:pt x="147" y="184"/>
                  </a:cubicBezTo>
                  <a:lnTo>
                    <a:pt x="8" y="184"/>
                  </a:lnTo>
                  <a:close/>
                  <a:moveTo>
                    <a:pt x="34" y="92"/>
                  </a:moveTo>
                  <a:cubicBezTo>
                    <a:pt x="36" y="79"/>
                    <a:pt x="47" y="69"/>
                    <a:pt x="61" y="69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108" y="69"/>
                    <a:pt x="119" y="79"/>
                    <a:pt x="121" y="92"/>
                  </a:cubicBezTo>
                  <a:lnTo>
                    <a:pt x="34" y="92"/>
                  </a:lnTo>
                  <a:close/>
                  <a:moveTo>
                    <a:pt x="184" y="184"/>
                  </a:moveTo>
                  <a:cubicBezTo>
                    <a:pt x="155" y="184"/>
                    <a:pt x="155" y="184"/>
                    <a:pt x="155" y="184"/>
                  </a:cubicBezTo>
                  <a:cubicBezTo>
                    <a:pt x="155" y="92"/>
                    <a:pt x="155" y="92"/>
                    <a:pt x="155" y="92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7" y="75"/>
                    <a:pt x="112" y="61"/>
                    <a:pt x="94" y="61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43" y="61"/>
                    <a:pt x="28" y="75"/>
                    <a:pt x="2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184" y="40"/>
                    <a:pt x="184" y="40"/>
                    <a:pt x="184" y="40"/>
                  </a:cubicBezTo>
                  <a:lnTo>
                    <a:pt x="184" y="18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lIns="114300" tIns="57150" rIns="114300" bIns="57150"/>
            <a:lstStyle/>
            <a:p>
              <a:endParaRPr lang="el-GR"/>
            </a:p>
          </p:txBody>
        </p:sp>
        <p:grpSp>
          <p:nvGrpSpPr>
            <p:cNvPr id="287958" name="35 - Ομάδα"/>
            <p:cNvGrpSpPr>
              <a:grpSpLocks/>
            </p:cNvGrpSpPr>
            <p:nvPr/>
          </p:nvGrpSpPr>
          <p:grpSpPr bwMode="auto">
            <a:xfrm>
              <a:off x="3976095" y="1741548"/>
              <a:ext cx="7749691" cy="3971029"/>
              <a:chOff x="4430907" y="2092938"/>
              <a:chExt cx="7031174" cy="3670145"/>
            </a:xfrm>
          </p:grpSpPr>
          <p:grpSp>
            <p:nvGrpSpPr>
              <p:cNvPr id="287963" name="Group 2"/>
              <p:cNvGrpSpPr>
                <a:grpSpLocks/>
              </p:cNvGrpSpPr>
              <p:nvPr/>
            </p:nvGrpSpPr>
            <p:grpSpPr bwMode="auto">
              <a:xfrm>
                <a:off x="4430907" y="2092938"/>
                <a:ext cx="3235382" cy="3670145"/>
                <a:chOff x="5999618" y="1838629"/>
                <a:chExt cx="3183929" cy="3892110"/>
              </a:xfrm>
            </p:grpSpPr>
            <p:sp>
              <p:nvSpPr>
                <p:cNvPr id="8" name="Rectangle: Diagonal Corners Snipped 7">
                  <a:extLst>
                    <a:ext uri="{FF2B5EF4-FFF2-40B4-BE49-F238E27FC236}"/>
                  </a:extLst>
                </p:cNvPr>
                <p:cNvSpPr/>
                <p:nvPr/>
              </p:nvSpPr>
              <p:spPr>
                <a:xfrm>
                  <a:off x="5999261" y="1838629"/>
                  <a:ext cx="3169070" cy="3892110"/>
                </a:xfrm>
                <a:prstGeom prst="snip2DiagRect">
                  <a:avLst/>
                </a:prstGeom>
                <a:solidFill>
                  <a:srgbClr val="7F8FA9"/>
                </a:solidFill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lIns="80669" tIns="80669" rIns="242029" bIns="80669"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l-GR" sz="1050" dirty="0">
                    <a:latin typeface="+mn-lt"/>
                    <a:cs typeface="+mn-cs"/>
                    <a:sym typeface="Georgia"/>
                  </a:endParaRPr>
                </a:p>
              </p:txBody>
            </p:sp>
            <p:sp>
              <p:nvSpPr>
                <p:cNvPr id="287968" name="Rectangle 29"/>
                <p:cNvSpPr>
                  <a:spLocks noChangeArrowheads="1"/>
                </p:cNvSpPr>
                <p:nvPr/>
              </p:nvSpPr>
              <p:spPr bwMode="auto">
                <a:xfrm>
                  <a:off x="7045559" y="2047805"/>
                  <a:ext cx="1637154" cy="783337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>
                  <a:spAutoFit/>
                </a:bodyPr>
                <a:lstStyle/>
                <a:p>
                  <a:r>
                    <a:rPr lang="el-GR" sz="2000" b="1">
                      <a:solidFill>
                        <a:schemeClr val="bg1"/>
                      </a:solidFill>
                      <a:latin typeface="Calibri" pitchFamily="34" charset="0"/>
                    </a:rPr>
                    <a:t>Υπηρεσίες</a:t>
                  </a:r>
                </a:p>
                <a:p>
                  <a:r>
                    <a:rPr lang="el-GR" sz="2200" b="1">
                      <a:solidFill>
                        <a:schemeClr val="bg1"/>
                      </a:solidFill>
                      <a:latin typeface="Calibri" pitchFamily="34" charset="0"/>
                    </a:rPr>
                    <a:t> </a:t>
                  </a:r>
                </a:p>
              </p:txBody>
            </p:sp>
            <p:sp>
              <p:nvSpPr>
                <p:cNvPr id="32" name="Rectangle 31">
                  <a:extLst>
                    <a:ext uri="{FF2B5EF4-FFF2-40B4-BE49-F238E27FC236}"/>
                  </a:extLst>
                </p:cNvPr>
                <p:cNvSpPr/>
                <p:nvPr/>
              </p:nvSpPr>
              <p:spPr>
                <a:xfrm>
                  <a:off x="6253248" y="2717799"/>
                  <a:ext cx="2929513" cy="2795920"/>
                </a:xfrm>
                <a:prstGeom prst="rect">
                  <a:avLst/>
                </a:prstGeom>
              </p:spPr>
              <p:txBody>
                <a:bodyPr>
                  <a:spAutoFit/>
                </a:bodyPr>
                <a:lstStyle/>
                <a:p>
                  <a:pPr marL="342900" indent="-342900" fontAlgn="auto">
                    <a:spcBef>
                      <a:spcPts val="0"/>
                    </a:spcBef>
                    <a:spcAft>
                      <a:spcPts val="0"/>
                    </a:spcAft>
                    <a:buFont typeface="Wingdings" panose="05000000000000000000" pitchFamily="2" charset="2"/>
                    <a:buChar char="q"/>
                    <a:defRPr/>
                  </a:pPr>
                  <a:r>
                    <a:rPr lang="el-GR" sz="1600" kern="0" dirty="0">
                      <a:solidFill>
                        <a:schemeClr val="bg1"/>
                      </a:solidFill>
                      <a:latin typeface="+mn-lt"/>
                      <a:cs typeface="Arial"/>
                    </a:rPr>
                    <a:t>Υπηρεσίες </a:t>
                  </a:r>
                  <a:r>
                    <a:rPr lang="el-GR" sz="1600" kern="0" dirty="0" err="1">
                      <a:solidFill>
                        <a:schemeClr val="bg1"/>
                      </a:solidFill>
                      <a:latin typeface="+mn-lt"/>
                      <a:cs typeface="Arial"/>
                    </a:rPr>
                    <a:t>Διαιτολογικών</a:t>
                  </a:r>
                  <a:r>
                    <a:rPr lang="el-GR" sz="1600" kern="0" dirty="0">
                      <a:solidFill>
                        <a:schemeClr val="bg1"/>
                      </a:solidFill>
                      <a:latin typeface="+mn-lt"/>
                      <a:cs typeface="Arial"/>
                    </a:rPr>
                    <a:t> Μονάδων.</a:t>
                  </a:r>
                </a:p>
                <a:p>
                  <a:pPr marL="342900" indent="-342900" fontAlgn="auto">
                    <a:spcBef>
                      <a:spcPts val="0"/>
                    </a:spcBef>
                    <a:spcAft>
                      <a:spcPts val="0"/>
                    </a:spcAft>
                    <a:buFont typeface="Wingdings" panose="05000000000000000000" pitchFamily="2" charset="2"/>
                    <a:buChar char="q"/>
                    <a:defRPr/>
                  </a:pPr>
                  <a:r>
                    <a:rPr lang="el-GR" sz="1600" kern="0" dirty="0">
                      <a:solidFill>
                        <a:schemeClr val="bg1"/>
                      </a:solidFill>
                      <a:latin typeface="+mn-lt"/>
                      <a:cs typeface="Arial"/>
                    </a:rPr>
                    <a:t>Υπηρεσίες προσωπικής υγιεινής και φροντίδας σώματος. </a:t>
                  </a:r>
                </a:p>
                <a:p>
                  <a:pPr marL="342900" indent="-342900" fontAlgn="auto">
                    <a:spcBef>
                      <a:spcPts val="0"/>
                    </a:spcBef>
                    <a:spcAft>
                      <a:spcPts val="0"/>
                    </a:spcAft>
                    <a:buFont typeface="Wingdings" panose="05000000000000000000" pitchFamily="2" charset="2"/>
                    <a:buChar char="q"/>
                    <a:defRPr/>
                  </a:pPr>
                  <a:r>
                    <a:rPr lang="el-GR" sz="1600" kern="0" dirty="0">
                      <a:solidFill>
                        <a:schemeClr val="bg1"/>
                      </a:solidFill>
                      <a:latin typeface="+mn-lt"/>
                      <a:cs typeface="Arial"/>
                    </a:rPr>
                    <a:t>Υπηρεσίες στολισμού εκκλησιών, αιθουσών κλπ.</a:t>
                  </a:r>
                </a:p>
                <a:p>
                  <a:pPr marL="342900" indent="-342900" fontAlgn="auto">
                    <a:spcBef>
                      <a:spcPts val="0"/>
                    </a:spcBef>
                    <a:spcAft>
                      <a:spcPts val="0"/>
                    </a:spcAft>
                    <a:buFont typeface="Wingdings" panose="05000000000000000000" pitchFamily="2" charset="2"/>
                    <a:buChar char="q"/>
                    <a:defRPr/>
                  </a:pPr>
                  <a:r>
                    <a:rPr lang="el-GR" sz="1600" kern="0" dirty="0">
                      <a:solidFill>
                        <a:schemeClr val="bg1"/>
                      </a:solidFill>
                      <a:latin typeface="+mn-lt"/>
                      <a:cs typeface="Arial"/>
                    </a:rPr>
                    <a:t>Υπηρεσίες που σχετίζονται με την εκπαίδευση κατοικίδιων ζώων συντροφιάς, για κυνήγι και σχετικές δραστηριότητες.</a:t>
                  </a:r>
                  <a:endParaRPr lang="en-GB" sz="1600" kern="0" dirty="0">
                    <a:solidFill>
                      <a:schemeClr val="bg1"/>
                    </a:solidFill>
                    <a:latin typeface="+mn-lt"/>
                    <a:cs typeface="Arial"/>
                  </a:endParaRPr>
                </a:p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l-GR" sz="1600" kern="0" dirty="0">
                    <a:solidFill>
                      <a:schemeClr val="bg1"/>
                    </a:solidFill>
                    <a:latin typeface="+mn-lt"/>
                    <a:cs typeface="Arial"/>
                  </a:endParaRPr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/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15085" y="2272179"/>
                <a:ext cx="501583" cy="508092"/>
                <a:chOff x="5382577" y="1219200"/>
                <a:chExt cx="122238" cy="123825"/>
              </a:xfrm>
              <a:solidFill>
                <a:schemeClr val="bg1"/>
              </a:solidFill>
            </p:grpSpPr>
            <p:sp>
              <p:nvSpPr>
                <p:cNvPr id="14" name="Freeform 99">
                  <a:extLst>
                    <a:ext uri="{FF2B5EF4-FFF2-40B4-BE49-F238E27FC236}"/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72113" y="1257300"/>
                  <a:ext cx="17463" cy="23813"/>
                </a:xfrm>
                <a:custGeom>
                  <a:avLst/>
                  <a:gdLst>
                    <a:gd name="T0" fmla="*/ 41 w 82"/>
                    <a:gd name="T1" fmla="*/ 109 h 109"/>
                    <a:gd name="T2" fmla="*/ 69 w 82"/>
                    <a:gd name="T3" fmla="*/ 94 h 109"/>
                    <a:gd name="T4" fmla="*/ 82 w 82"/>
                    <a:gd name="T5" fmla="*/ 45 h 109"/>
                    <a:gd name="T6" fmla="*/ 41 w 82"/>
                    <a:gd name="T7" fmla="*/ 0 h 109"/>
                    <a:gd name="T8" fmla="*/ 0 w 82"/>
                    <a:gd name="T9" fmla="*/ 45 h 109"/>
                    <a:gd name="T10" fmla="*/ 13 w 82"/>
                    <a:gd name="T11" fmla="*/ 94 h 109"/>
                    <a:gd name="T12" fmla="*/ 41 w 82"/>
                    <a:gd name="T13" fmla="*/ 109 h 109"/>
                    <a:gd name="T14" fmla="*/ 41 w 82"/>
                    <a:gd name="T15" fmla="*/ 23 h 109"/>
                    <a:gd name="T16" fmla="*/ 59 w 82"/>
                    <a:gd name="T17" fmla="*/ 45 h 109"/>
                    <a:gd name="T18" fmla="*/ 41 w 82"/>
                    <a:gd name="T19" fmla="*/ 86 h 109"/>
                    <a:gd name="T20" fmla="*/ 23 w 82"/>
                    <a:gd name="T21" fmla="*/ 45 h 109"/>
                    <a:gd name="T22" fmla="*/ 41 w 82"/>
                    <a:gd name="T23" fmla="*/ 23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2" h="109">
                      <a:moveTo>
                        <a:pt x="41" y="109"/>
                      </a:moveTo>
                      <a:cubicBezTo>
                        <a:pt x="54" y="109"/>
                        <a:pt x="62" y="101"/>
                        <a:pt x="69" y="94"/>
                      </a:cubicBezTo>
                      <a:cubicBezTo>
                        <a:pt x="77" y="84"/>
                        <a:pt x="82" y="67"/>
                        <a:pt x="82" y="45"/>
                      </a:cubicBezTo>
                      <a:cubicBezTo>
                        <a:pt x="82" y="20"/>
                        <a:pt x="63" y="0"/>
                        <a:pt x="41" y="0"/>
                      </a:cubicBezTo>
                      <a:cubicBezTo>
                        <a:pt x="18" y="0"/>
                        <a:pt x="0" y="20"/>
                        <a:pt x="0" y="45"/>
                      </a:cubicBezTo>
                      <a:cubicBezTo>
                        <a:pt x="0" y="67"/>
                        <a:pt x="4" y="84"/>
                        <a:pt x="13" y="94"/>
                      </a:cubicBezTo>
                      <a:cubicBezTo>
                        <a:pt x="20" y="101"/>
                        <a:pt x="27" y="109"/>
                        <a:pt x="41" y="109"/>
                      </a:cubicBezTo>
                      <a:close/>
                      <a:moveTo>
                        <a:pt x="41" y="23"/>
                      </a:moveTo>
                      <a:cubicBezTo>
                        <a:pt x="51" y="23"/>
                        <a:pt x="59" y="33"/>
                        <a:pt x="59" y="45"/>
                      </a:cubicBezTo>
                      <a:cubicBezTo>
                        <a:pt x="59" y="61"/>
                        <a:pt x="54" y="86"/>
                        <a:pt x="41" y="86"/>
                      </a:cubicBezTo>
                      <a:cubicBezTo>
                        <a:pt x="28" y="86"/>
                        <a:pt x="23" y="61"/>
                        <a:pt x="23" y="45"/>
                      </a:cubicBezTo>
                      <a:cubicBezTo>
                        <a:pt x="23" y="33"/>
                        <a:pt x="31" y="23"/>
                        <a:pt x="41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lIns="114300" tIns="57150" rIns="114300" bIns="57150"/>
                <a:lstStyle/>
                <a:p>
                  <a:pPr defTabSz="11430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2250">
                    <a:latin typeface="+mn-lt"/>
                    <a:cs typeface="+mn-cs"/>
                  </a:endParaRPr>
                </a:p>
              </p:txBody>
            </p:sp>
            <p:sp>
              <p:nvSpPr>
                <p:cNvPr id="15" name="Freeform 100">
                  <a:extLst>
                    <a:ext uri="{FF2B5EF4-FFF2-40B4-BE49-F238E27FC236}"/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92738" y="1257300"/>
                  <a:ext cx="17463" cy="23813"/>
                </a:xfrm>
                <a:custGeom>
                  <a:avLst/>
                  <a:gdLst>
                    <a:gd name="T0" fmla="*/ 41 w 82"/>
                    <a:gd name="T1" fmla="*/ 109 h 109"/>
                    <a:gd name="T2" fmla="*/ 69 w 82"/>
                    <a:gd name="T3" fmla="*/ 94 h 109"/>
                    <a:gd name="T4" fmla="*/ 82 w 82"/>
                    <a:gd name="T5" fmla="*/ 45 h 109"/>
                    <a:gd name="T6" fmla="*/ 41 w 82"/>
                    <a:gd name="T7" fmla="*/ 0 h 109"/>
                    <a:gd name="T8" fmla="*/ 0 w 82"/>
                    <a:gd name="T9" fmla="*/ 45 h 109"/>
                    <a:gd name="T10" fmla="*/ 13 w 82"/>
                    <a:gd name="T11" fmla="*/ 94 h 109"/>
                    <a:gd name="T12" fmla="*/ 41 w 82"/>
                    <a:gd name="T13" fmla="*/ 109 h 109"/>
                    <a:gd name="T14" fmla="*/ 41 w 82"/>
                    <a:gd name="T15" fmla="*/ 86 h 109"/>
                    <a:gd name="T16" fmla="*/ 23 w 82"/>
                    <a:gd name="T17" fmla="*/ 45 h 109"/>
                    <a:gd name="T18" fmla="*/ 41 w 82"/>
                    <a:gd name="T19" fmla="*/ 23 h 109"/>
                    <a:gd name="T20" fmla="*/ 59 w 82"/>
                    <a:gd name="T21" fmla="*/ 45 h 109"/>
                    <a:gd name="T22" fmla="*/ 41 w 82"/>
                    <a:gd name="T23" fmla="*/ 86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2" h="109">
                      <a:moveTo>
                        <a:pt x="41" y="109"/>
                      </a:moveTo>
                      <a:cubicBezTo>
                        <a:pt x="55" y="109"/>
                        <a:pt x="62" y="101"/>
                        <a:pt x="69" y="94"/>
                      </a:cubicBezTo>
                      <a:cubicBezTo>
                        <a:pt x="78" y="84"/>
                        <a:pt x="82" y="67"/>
                        <a:pt x="82" y="45"/>
                      </a:cubicBezTo>
                      <a:cubicBezTo>
                        <a:pt x="82" y="20"/>
                        <a:pt x="64" y="0"/>
                        <a:pt x="41" y="0"/>
                      </a:cubicBezTo>
                      <a:cubicBezTo>
                        <a:pt x="19" y="0"/>
                        <a:pt x="0" y="20"/>
                        <a:pt x="0" y="45"/>
                      </a:cubicBezTo>
                      <a:cubicBezTo>
                        <a:pt x="0" y="67"/>
                        <a:pt x="5" y="84"/>
                        <a:pt x="13" y="94"/>
                      </a:cubicBezTo>
                      <a:cubicBezTo>
                        <a:pt x="20" y="101"/>
                        <a:pt x="28" y="109"/>
                        <a:pt x="41" y="109"/>
                      </a:cubicBezTo>
                      <a:close/>
                      <a:moveTo>
                        <a:pt x="41" y="86"/>
                      </a:moveTo>
                      <a:cubicBezTo>
                        <a:pt x="28" y="86"/>
                        <a:pt x="23" y="61"/>
                        <a:pt x="23" y="45"/>
                      </a:cubicBezTo>
                      <a:cubicBezTo>
                        <a:pt x="23" y="33"/>
                        <a:pt x="31" y="23"/>
                        <a:pt x="41" y="23"/>
                      </a:cubicBezTo>
                      <a:cubicBezTo>
                        <a:pt x="51" y="23"/>
                        <a:pt x="59" y="33"/>
                        <a:pt x="59" y="45"/>
                      </a:cubicBezTo>
                      <a:cubicBezTo>
                        <a:pt x="59" y="61"/>
                        <a:pt x="54" y="86"/>
                        <a:pt x="41" y="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lIns="114300" tIns="57150" rIns="114300" bIns="57150"/>
                <a:lstStyle/>
                <a:p>
                  <a:pPr defTabSz="11430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2250">
                    <a:latin typeface="+mn-lt"/>
                    <a:cs typeface="+mn-cs"/>
                  </a:endParaRPr>
                </a:p>
              </p:txBody>
            </p:sp>
            <p:sp>
              <p:nvSpPr>
                <p:cNvPr id="16" name="Freeform 101">
                  <a:extLst>
                    <a:ext uri="{FF2B5EF4-FFF2-40B4-BE49-F238E27FC236}"/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82577" y="1219200"/>
                  <a:ext cx="122238" cy="123825"/>
                </a:xfrm>
                <a:custGeom>
                  <a:avLst/>
                  <a:gdLst>
                    <a:gd name="T0" fmla="*/ 0 w 576"/>
                    <a:gd name="T1" fmla="*/ 576 h 576"/>
                    <a:gd name="T2" fmla="*/ 106 w 576"/>
                    <a:gd name="T3" fmla="*/ 419 h 576"/>
                    <a:gd name="T4" fmla="*/ 238 w 576"/>
                    <a:gd name="T5" fmla="*/ 344 h 576"/>
                    <a:gd name="T6" fmla="*/ 248 w 576"/>
                    <a:gd name="T7" fmla="*/ 351 h 576"/>
                    <a:gd name="T8" fmla="*/ 328 w 576"/>
                    <a:gd name="T9" fmla="*/ 351 h 576"/>
                    <a:gd name="T10" fmla="*/ 338 w 576"/>
                    <a:gd name="T11" fmla="*/ 344 h 576"/>
                    <a:gd name="T12" fmla="*/ 470 w 576"/>
                    <a:gd name="T13" fmla="*/ 419 h 576"/>
                    <a:gd name="T14" fmla="*/ 576 w 576"/>
                    <a:gd name="T15" fmla="*/ 576 h 576"/>
                    <a:gd name="T16" fmla="*/ 0 w 576"/>
                    <a:gd name="T17" fmla="*/ 0 h 576"/>
                    <a:gd name="T18" fmla="*/ 83 w 576"/>
                    <a:gd name="T19" fmla="*/ 412 h 576"/>
                    <a:gd name="T20" fmla="*/ 25 w 576"/>
                    <a:gd name="T21" fmla="*/ 551 h 576"/>
                    <a:gd name="T22" fmla="*/ 27 w 576"/>
                    <a:gd name="T23" fmla="*/ 350 h 576"/>
                    <a:gd name="T24" fmla="*/ 80 w 576"/>
                    <a:gd name="T25" fmla="*/ 321 h 576"/>
                    <a:gd name="T26" fmla="*/ 103 w 576"/>
                    <a:gd name="T27" fmla="*/ 331 h 576"/>
                    <a:gd name="T28" fmla="*/ 127 w 576"/>
                    <a:gd name="T29" fmla="*/ 321 h 576"/>
                    <a:gd name="T30" fmla="*/ 173 w 576"/>
                    <a:gd name="T31" fmla="*/ 340 h 576"/>
                    <a:gd name="T32" fmla="*/ 317 w 576"/>
                    <a:gd name="T33" fmla="*/ 327 h 576"/>
                    <a:gd name="T34" fmla="*/ 288 w 576"/>
                    <a:gd name="T35" fmla="*/ 344 h 576"/>
                    <a:gd name="T36" fmla="*/ 259 w 576"/>
                    <a:gd name="T37" fmla="*/ 327 h 576"/>
                    <a:gd name="T38" fmla="*/ 196 w 576"/>
                    <a:gd name="T39" fmla="*/ 332 h 576"/>
                    <a:gd name="T40" fmla="*/ 131 w 576"/>
                    <a:gd name="T41" fmla="*/ 298 h 576"/>
                    <a:gd name="T42" fmla="*/ 109 w 576"/>
                    <a:gd name="T43" fmla="*/ 306 h 576"/>
                    <a:gd name="T44" fmla="*/ 94 w 576"/>
                    <a:gd name="T45" fmla="*/ 303 h 576"/>
                    <a:gd name="T46" fmla="*/ 36 w 576"/>
                    <a:gd name="T47" fmla="*/ 311 h 576"/>
                    <a:gd name="T48" fmla="*/ 25 w 576"/>
                    <a:gd name="T49" fmla="*/ 25 h 576"/>
                    <a:gd name="T50" fmla="*/ 551 w 576"/>
                    <a:gd name="T51" fmla="*/ 317 h 576"/>
                    <a:gd name="T52" fmla="*/ 501 w 576"/>
                    <a:gd name="T53" fmla="*/ 298 h 576"/>
                    <a:gd name="T54" fmla="*/ 479 w 576"/>
                    <a:gd name="T55" fmla="*/ 306 h 576"/>
                    <a:gd name="T56" fmla="*/ 464 w 576"/>
                    <a:gd name="T57" fmla="*/ 303 h 576"/>
                    <a:gd name="T58" fmla="*/ 406 w 576"/>
                    <a:gd name="T59" fmla="*/ 311 h 576"/>
                    <a:gd name="T60" fmla="*/ 346 w 576"/>
                    <a:gd name="T61" fmla="*/ 320 h 576"/>
                    <a:gd name="T62" fmla="*/ 508 w 576"/>
                    <a:gd name="T63" fmla="*/ 551 h 576"/>
                    <a:gd name="T64" fmla="*/ 493 w 576"/>
                    <a:gd name="T65" fmla="*/ 412 h 576"/>
                    <a:gd name="T66" fmla="*/ 403 w 576"/>
                    <a:gd name="T67" fmla="*/ 340 h 576"/>
                    <a:gd name="T68" fmla="*/ 449 w 576"/>
                    <a:gd name="T69" fmla="*/ 321 h 576"/>
                    <a:gd name="T70" fmla="*/ 473 w 576"/>
                    <a:gd name="T71" fmla="*/ 331 h 576"/>
                    <a:gd name="T72" fmla="*/ 496 w 576"/>
                    <a:gd name="T73" fmla="*/ 321 h 576"/>
                    <a:gd name="T74" fmla="*/ 549 w 576"/>
                    <a:gd name="T75" fmla="*/ 350 h 576"/>
                    <a:gd name="T76" fmla="*/ 551 w 576"/>
                    <a:gd name="T77" fmla="*/ 551 h 5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576" h="576">
                      <a:moveTo>
                        <a:pt x="0" y="0"/>
                      </a:moveTo>
                      <a:cubicBezTo>
                        <a:pt x="0" y="576"/>
                        <a:pt x="0" y="576"/>
                        <a:pt x="0" y="576"/>
                      </a:cubicBezTo>
                      <a:cubicBezTo>
                        <a:pt x="90" y="576"/>
                        <a:pt x="90" y="576"/>
                        <a:pt x="90" y="576"/>
                      </a:cubicBezTo>
                      <a:cubicBezTo>
                        <a:pt x="106" y="419"/>
                        <a:pt x="106" y="419"/>
                        <a:pt x="106" y="419"/>
                      </a:cubicBezTo>
                      <a:cubicBezTo>
                        <a:pt x="114" y="397"/>
                        <a:pt x="131" y="380"/>
                        <a:pt x="152" y="373"/>
                      </a:cubicBezTo>
                      <a:cubicBezTo>
                        <a:pt x="238" y="344"/>
                        <a:pt x="238" y="344"/>
                        <a:pt x="238" y="344"/>
                      </a:cubicBezTo>
                      <a:cubicBezTo>
                        <a:pt x="239" y="343"/>
                        <a:pt x="240" y="344"/>
                        <a:pt x="241" y="344"/>
                      </a:cubicBezTo>
                      <a:cubicBezTo>
                        <a:pt x="248" y="351"/>
                        <a:pt x="248" y="351"/>
                        <a:pt x="248" y="351"/>
                      </a:cubicBezTo>
                      <a:cubicBezTo>
                        <a:pt x="258" y="362"/>
                        <a:pt x="273" y="368"/>
                        <a:pt x="288" y="368"/>
                      </a:cubicBezTo>
                      <a:cubicBezTo>
                        <a:pt x="303" y="368"/>
                        <a:pt x="318" y="362"/>
                        <a:pt x="328" y="351"/>
                      </a:cubicBezTo>
                      <a:cubicBezTo>
                        <a:pt x="335" y="344"/>
                        <a:pt x="335" y="344"/>
                        <a:pt x="335" y="344"/>
                      </a:cubicBezTo>
                      <a:cubicBezTo>
                        <a:pt x="336" y="344"/>
                        <a:pt x="337" y="343"/>
                        <a:pt x="338" y="344"/>
                      </a:cubicBezTo>
                      <a:cubicBezTo>
                        <a:pt x="424" y="373"/>
                        <a:pt x="424" y="373"/>
                        <a:pt x="424" y="373"/>
                      </a:cubicBezTo>
                      <a:cubicBezTo>
                        <a:pt x="446" y="380"/>
                        <a:pt x="462" y="397"/>
                        <a:pt x="470" y="419"/>
                      </a:cubicBezTo>
                      <a:cubicBezTo>
                        <a:pt x="486" y="576"/>
                        <a:pt x="486" y="576"/>
                        <a:pt x="486" y="576"/>
                      </a:cubicBezTo>
                      <a:cubicBezTo>
                        <a:pt x="576" y="576"/>
                        <a:pt x="576" y="576"/>
                        <a:pt x="576" y="576"/>
                      </a:cubicBezTo>
                      <a:cubicBezTo>
                        <a:pt x="576" y="0"/>
                        <a:pt x="576" y="0"/>
                        <a:pt x="576" y="0"/>
                      </a:cubicBezTo>
                      <a:lnTo>
                        <a:pt x="0" y="0"/>
                      </a:lnTo>
                      <a:close/>
                      <a:moveTo>
                        <a:pt x="144" y="350"/>
                      </a:moveTo>
                      <a:cubicBezTo>
                        <a:pt x="115" y="360"/>
                        <a:pt x="92" y="383"/>
                        <a:pt x="83" y="412"/>
                      </a:cubicBezTo>
                      <a:cubicBezTo>
                        <a:pt x="68" y="551"/>
                        <a:pt x="68" y="551"/>
                        <a:pt x="68" y="551"/>
                      </a:cubicBezTo>
                      <a:cubicBezTo>
                        <a:pt x="25" y="551"/>
                        <a:pt x="25" y="551"/>
                        <a:pt x="25" y="551"/>
                      </a:cubicBezTo>
                      <a:cubicBezTo>
                        <a:pt x="25" y="369"/>
                        <a:pt x="25" y="369"/>
                        <a:pt x="25" y="369"/>
                      </a:cubicBezTo>
                      <a:cubicBezTo>
                        <a:pt x="27" y="350"/>
                        <a:pt x="27" y="350"/>
                        <a:pt x="27" y="350"/>
                      </a:cubicBezTo>
                      <a:cubicBezTo>
                        <a:pt x="30" y="342"/>
                        <a:pt x="36" y="336"/>
                        <a:pt x="44" y="333"/>
                      </a:cubicBezTo>
                      <a:cubicBezTo>
                        <a:pt x="80" y="321"/>
                        <a:pt x="80" y="321"/>
                        <a:pt x="80" y="321"/>
                      </a:cubicBezTo>
                      <a:cubicBezTo>
                        <a:pt x="81" y="322"/>
                        <a:pt x="81" y="322"/>
                        <a:pt x="81" y="322"/>
                      </a:cubicBezTo>
                      <a:cubicBezTo>
                        <a:pt x="87" y="328"/>
                        <a:pt x="95" y="331"/>
                        <a:pt x="103" y="331"/>
                      </a:cubicBezTo>
                      <a:cubicBezTo>
                        <a:pt x="112" y="331"/>
                        <a:pt x="120" y="328"/>
                        <a:pt x="126" y="322"/>
                      </a:cubicBezTo>
                      <a:cubicBezTo>
                        <a:pt x="127" y="321"/>
                        <a:pt x="127" y="321"/>
                        <a:pt x="127" y="321"/>
                      </a:cubicBezTo>
                      <a:cubicBezTo>
                        <a:pt x="163" y="333"/>
                        <a:pt x="163" y="333"/>
                        <a:pt x="163" y="333"/>
                      </a:cubicBezTo>
                      <a:cubicBezTo>
                        <a:pt x="167" y="335"/>
                        <a:pt x="170" y="337"/>
                        <a:pt x="173" y="340"/>
                      </a:cubicBezTo>
                      <a:lnTo>
                        <a:pt x="144" y="350"/>
                      </a:lnTo>
                      <a:close/>
                      <a:moveTo>
                        <a:pt x="317" y="327"/>
                      </a:moveTo>
                      <a:cubicBezTo>
                        <a:pt x="311" y="334"/>
                        <a:pt x="311" y="334"/>
                        <a:pt x="311" y="334"/>
                      </a:cubicBezTo>
                      <a:cubicBezTo>
                        <a:pt x="305" y="340"/>
                        <a:pt x="297" y="344"/>
                        <a:pt x="288" y="344"/>
                      </a:cubicBezTo>
                      <a:cubicBezTo>
                        <a:pt x="279" y="344"/>
                        <a:pt x="271" y="340"/>
                        <a:pt x="265" y="334"/>
                      </a:cubicBezTo>
                      <a:cubicBezTo>
                        <a:pt x="259" y="327"/>
                        <a:pt x="259" y="327"/>
                        <a:pt x="259" y="327"/>
                      </a:cubicBezTo>
                      <a:cubicBezTo>
                        <a:pt x="251" y="320"/>
                        <a:pt x="240" y="317"/>
                        <a:pt x="230" y="320"/>
                      </a:cubicBezTo>
                      <a:cubicBezTo>
                        <a:pt x="196" y="332"/>
                        <a:pt x="196" y="332"/>
                        <a:pt x="196" y="332"/>
                      </a:cubicBezTo>
                      <a:cubicBezTo>
                        <a:pt x="190" y="322"/>
                        <a:pt x="181" y="315"/>
                        <a:pt x="170" y="311"/>
                      </a:cubicBezTo>
                      <a:cubicBezTo>
                        <a:pt x="131" y="298"/>
                        <a:pt x="131" y="298"/>
                        <a:pt x="131" y="298"/>
                      </a:cubicBezTo>
                      <a:cubicBezTo>
                        <a:pt x="125" y="296"/>
                        <a:pt x="117" y="298"/>
                        <a:pt x="112" y="303"/>
                      </a:cubicBezTo>
                      <a:cubicBezTo>
                        <a:pt x="109" y="306"/>
                        <a:pt x="109" y="306"/>
                        <a:pt x="109" y="306"/>
                      </a:cubicBezTo>
                      <a:cubicBezTo>
                        <a:pt x="106" y="309"/>
                        <a:pt x="100" y="309"/>
                        <a:pt x="97" y="306"/>
                      </a:cubicBezTo>
                      <a:cubicBezTo>
                        <a:pt x="94" y="303"/>
                        <a:pt x="94" y="303"/>
                        <a:pt x="94" y="303"/>
                      </a:cubicBezTo>
                      <a:cubicBezTo>
                        <a:pt x="89" y="298"/>
                        <a:pt x="82" y="296"/>
                        <a:pt x="75" y="298"/>
                      </a:cubicBezTo>
                      <a:cubicBezTo>
                        <a:pt x="36" y="311"/>
                        <a:pt x="36" y="311"/>
                        <a:pt x="36" y="311"/>
                      </a:cubicBezTo>
                      <a:cubicBezTo>
                        <a:pt x="32" y="313"/>
                        <a:pt x="28" y="315"/>
                        <a:pt x="25" y="317"/>
                      </a:cubicBezTo>
                      <a:cubicBezTo>
                        <a:pt x="25" y="25"/>
                        <a:pt x="25" y="25"/>
                        <a:pt x="25" y="25"/>
                      </a:cubicBezTo>
                      <a:cubicBezTo>
                        <a:pt x="551" y="25"/>
                        <a:pt x="551" y="25"/>
                        <a:pt x="551" y="25"/>
                      </a:cubicBezTo>
                      <a:cubicBezTo>
                        <a:pt x="551" y="317"/>
                        <a:pt x="551" y="317"/>
                        <a:pt x="551" y="317"/>
                      </a:cubicBezTo>
                      <a:cubicBezTo>
                        <a:pt x="548" y="315"/>
                        <a:pt x="544" y="313"/>
                        <a:pt x="540" y="311"/>
                      </a:cubicBezTo>
                      <a:cubicBezTo>
                        <a:pt x="501" y="298"/>
                        <a:pt x="501" y="298"/>
                        <a:pt x="501" y="298"/>
                      </a:cubicBezTo>
                      <a:cubicBezTo>
                        <a:pt x="494" y="296"/>
                        <a:pt x="487" y="298"/>
                        <a:pt x="482" y="303"/>
                      </a:cubicBezTo>
                      <a:cubicBezTo>
                        <a:pt x="479" y="306"/>
                        <a:pt x="479" y="306"/>
                        <a:pt x="479" y="306"/>
                      </a:cubicBezTo>
                      <a:cubicBezTo>
                        <a:pt x="476" y="309"/>
                        <a:pt x="470" y="309"/>
                        <a:pt x="467" y="306"/>
                      </a:cubicBezTo>
                      <a:cubicBezTo>
                        <a:pt x="464" y="303"/>
                        <a:pt x="464" y="303"/>
                        <a:pt x="464" y="303"/>
                      </a:cubicBezTo>
                      <a:cubicBezTo>
                        <a:pt x="459" y="298"/>
                        <a:pt x="451" y="296"/>
                        <a:pt x="445" y="298"/>
                      </a:cubicBezTo>
                      <a:cubicBezTo>
                        <a:pt x="406" y="311"/>
                        <a:pt x="406" y="311"/>
                        <a:pt x="406" y="311"/>
                      </a:cubicBezTo>
                      <a:cubicBezTo>
                        <a:pt x="395" y="315"/>
                        <a:pt x="386" y="322"/>
                        <a:pt x="380" y="332"/>
                      </a:cubicBezTo>
                      <a:cubicBezTo>
                        <a:pt x="346" y="320"/>
                        <a:pt x="346" y="320"/>
                        <a:pt x="346" y="320"/>
                      </a:cubicBezTo>
                      <a:cubicBezTo>
                        <a:pt x="336" y="317"/>
                        <a:pt x="325" y="320"/>
                        <a:pt x="317" y="327"/>
                      </a:cubicBezTo>
                      <a:close/>
                      <a:moveTo>
                        <a:pt x="508" y="551"/>
                      </a:moveTo>
                      <a:cubicBezTo>
                        <a:pt x="494" y="415"/>
                        <a:pt x="494" y="415"/>
                        <a:pt x="494" y="415"/>
                      </a:cubicBezTo>
                      <a:cubicBezTo>
                        <a:pt x="493" y="412"/>
                        <a:pt x="493" y="412"/>
                        <a:pt x="493" y="412"/>
                      </a:cubicBezTo>
                      <a:cubicBezTo>
                        <a:pt x="484" y="383"/>
                        <a:pt x="461" y="360"/>
                        <a:pt x="432" y="350"/>
                      </a:cubicBezTo>
                      <a:cubicBezTo>
                        <a:pt x="403" y="340"/>
                        <a:pt x="403" y="340"/>
                        <a:pt x="403" y="340"/>
                      </a:cubicBezTo>
                      <a:cubicBezTo>
                        <a:pt x="406" y="337"/>
                        <a:pt x="409" y="335"/>
                        <a:pt x="413" y="333"/>
                      </a:cubicBezTo>
                      <a:cubicBezTo>
                        <a:pt x="449" y="321"/>
                        <a:pt x="449" y="321"/>
                        <a:pt x="449" y="321"/>
                      </a:cubicBezTo>
                      <a:cubicBezTo>
                        <a:pt x="450" y="322"/>
                        <a:pt x="450" y="322"/>
                        <a:pt x="450" y="322"/>
                      </a:cubicBezTo>
                      <a:cubicBezTo>
                        <a:pt x="456" y="328"/>
                        <a:pt x="464" y="331"/>
                        <a:pt x="473" y="331"/>
                      </a:cubicBezTo>
                      <a:cubicBezTo>
                        <a:pt x="481" y="331"/>
                        <a:pt x="489" y="328"/>
                        <a:pt x="495" y="322"/>
                      </a:cubicBezTo>
                      <a:cubicBezTo>
                        <a:pt x="496" y="321"/>
                        <a:pt x="496" y="321"/>
                        <a:pt x="496" y="321"/>
                      </a:cubicBezTo>
                      <a:cubicBezTo>
                        <a:pt x="532" y="333"/>
                        <a:pt x="532" y="333"/>
                        <a:pt x="532" y="333"/>
                      </a:cubicBezTo>
                      <a:cubicBezTo>
                        <a:pt x="540" y="336"/>
                        <a:pt x="546" y="342"/>
                        <a:pt x="549" y="350"/>
                      </a:cubicBezTo>
                      <a:cubicBezTo>
                        <a:pt x="551" y="369"/>
                        <a:pt x="551" y="369"/>
                        <a:pt x="551" y="369"/>
                      </a:cubicBezTo>
                      <a:cubicBezTo>
                        <a:pt x="551" y="551"/>
                        <a:pt x="551" y="551"/>
                        <a:pt x="551" y="551"/>
                      </a:cubicBezTo>
                      <a:lnTo>
                        <a:pt x="508" y="55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lIns="114300" tIns="57150" rIns="114300" bIns="57150"/>
                <a:lstStyle/>
                <a:p>
                  <a:pPr defTabSz="11430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2250">
                    <a:latin typeface="+mn-lt"/>
                    <a:cs typeface="+mn-cs"/>
                  </a:endParaRPr>
                </a:p>
              </p:txBody>
            </p:sp>
            <p:sp>
              <p:nvSpPr>
                <p:cNvPr id="17" name="Freeform 102">
                  <a:extLst>
                    <a:ext uri="{FF2B5EF4-FFF2-40B4-BE49-F238E27FC236}"/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24488" y="1239838"/>
                  <a:ext cx="33338" cy="44450"/>
                </a:xfrm>
                <a:custGeom>
                  <a:avLst/>
                  <a:gdLst>
                    <a:gd name="T0" fmla="*/ 78 w 156"/>
                    <a:gd name="T1" fmla="*/ 0 h 213"/>
                    <a:gd name="T2" fmla="*/ 0 w 156"/>
                    <a:gd name="T3" fmla="*/ 86 h 213"/>
                    <a:gd name="T4" fmla="*/ 26 w 156"/>
                    <a:gd name="T5" fmla="*/ 184 h 213"/>
                    <a:gd name="T6" fmla="*/ 78 w 156"/>
                    <a:gd name="T7" fmla="*/ 213 h 213"/>
                    <a:gd name="T8" fmla="*/ 130 w 156"/>
                    <a:gd name="T9" fmla="*/ 184 h 213"/>
                    <a:gd name="T10" fmla="*/ 156 w 156"/>
                    <a:gd name="T11" fmla="*/ 86 h 213"/>
                    <a:gd name="T12" fmla="*/ 78 w 156"/>
                    <a:gd name="T13" fmla="*/ 0 h 213"/>
                    <a:gd name="T14" fmla="*/ 112 w 156"/>
                    <a:gd name="T15" fmla="*/ 168 h 213"/>
                    <a:gd name="T16" fmla="*/ 78 w 156"/>
                    <a:gd name="T17" fmla="*/ 189 h 213"/>
                    <a:gd name="T18" fmla="*/ 44 w 156"/>
                    <a:gd name="T19" fmla="*/ 168 h 213"/>
                    <a:gd name="T20" fmla="*/ 25 w 156"/>
                    <a:gd name="T21" fmla="*/ 86 h 213"/>
                    <a:gd name="T22" fmla="*/ 78 w 156"/>
                    <a:gd name="T23" fmla="*/ 24 h 213"/>
                    <a:gd name="T24" fmla="*/ 131 w 156"/>
                    <a:gd name="T25" fmla="*/ 86 h 213"/>
                    <a:gd name="T26" fmla="*/ 112 w 156"/>
                    <a:gd name="T27" fmla="*/ 168 h 2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56" h="213">
                      <a:moveTo>
                        <a:pt x="78" y="0"/>
                      </a:moveTo>
                      <a:cubicBezTo>
                        <a:pt x="35" y="0"/>
                        <a:pt x="0" y="38"/>
                        <a:pt x="0" y="86"/>
                      </a:cubicBezTo>
                      <a:cubicBezTo>
                        <a:pt x="0" y="132"/>
                        <a:pt x="9" y="165"/>
                        <a:pt x="26" y="184"/>
                      </a:cubicBezTo>
                      <a:cubicBezTo>
                        <a:pt x="40" y="200"/>
                        <a:pt x="54" y="213"/>
                        <a:pt x="78" y="213"/>
                      </a:cubicBezTo>
                      <a:cubicBezTo>
                        <a:pt x="102" y="213"/>
                        <a:pt x="116" y="200"/>
                        <a:pt x="130" y="184"/>
                      </a:cubicBezTo>
                      <a:cubicBezTo>
                        <a:pt x="147" y="165"/>
                        <a:pt x="156" y="132"/>
                        <a:pt x="156" y="86"/>
                      </a:cubicBezTo>
                      <a:cubicBezTo>
                        <a:pt x="156" y="38"/>
                        <a:pt x="121" y="0"/>
                        <a:pt x="78" y="0"/>
                      </a:cubicBezTo>
                      <a:close/>
                      <a:moveTo>
                        <a:pt x="112" y="168"/>
                      </a:moveTo>
                      <a:cubicBezTo>
                        <a:pt x="97" y="184"/>
                        <a:pt x="90" y="189"/>
                        <a:pt x="78" y="189"/>
                      </a:cubicBezTo>
                      <a:cubicBezTo>
                        <a:pt x="66" y="189"/>
                        <a:pt x="59" y="184"/>
                        <a:pt x="44" y="168"/>
                      </a:cubicBezTo>
                      <a:cubicBezTo>
                        <a:pt x="32" y="154"/>
                        <a:pt x="25" y="124"/>
                        <a:pt x="25" y="86"/>
                      </a:cubicBezTo>
                      <a:cubicBezTo>
                        <a:pt x="25" y="52"/>
                        <a:pt x="49" y="24"/>
                        <a:pt x="78" y="24"/>
                      </a:cubicBezTo>
                      <a:cubicBezTo>
                        <a:pt x="107" y="24"/>
                        <a:pt x="131" y="52"/>
                        <a:pt x="131" y="86"/>
                      </a:cubicBezTo>
                      <a:cubicBezTo>
                        <a:pt x="131" y="124"/>
                        <a:pt x="124" y="154"/>
                        <a:pt x="112" y="16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/>
                </a:extLst>
              </p:spPr>
              <p:txBody>
                <a:bodyPr lIns="114300" tIns="57150" rIns="114300" bIns="57150"/>
                <a:lstStyle/>
                <a:p>
                  <a:pPr defTabSz="1143000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2250">
                    <a:latin typeface="+mn-lt"/>
                    <a:cs typeface="+mn-cs"/>
                  </a:endParaRPr>
                </a:p>
              </p:txBody>
            </p:sp>
          </p:grpSp>
          <p:sp>
            <p:nvSpPr>
              <p:cNvPr id="20" name="Rectangle: Diagonal Corners Snipped 6">
                <a:extLst>
                  <a:ext uri="{FF2B5EF4-FFF2-40B4-BE49-F238E27FC236}"/>
                </a:extLst>
              </p:cNvPr>
              <p:cNvSpPr/>
              <p:nvPr/>
            </p:nvSpPr>
            <p:spPr>
              <a:xfrm>
                <a:off x="7949979" y="2092938"/>
                <a:ext cx="3512102" cy="3670145"/>
              </a:xfrm>
              <a:prstGeom prst="snip2Diag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lIns="80669" tIns="80669" rIns="242029" bIns="80669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l-GR" sz="1050" dirty="0">
                  <a:latin typeface="+mn-lt"/>
                  <a:cs typeface="+mn-cs"/>
                  <a:sym typeface="Georgia"/>
                </a:endParaRPr>
              </a:p>
            </p:txBody>
          </p:sp>
          <p:sp>
            <p:nvSpPr>
              <p:cNvPr id="287966" name="Rectangle 29"/>
              <p:cNvSpPr>
                <a:spLocks noChangeArrowheads="1"/>
              </p:cNvSpPr>
              <p:nvPr/>
            </p:nvSpPr>
            <p:spPr bwMode="auto">
              <a:xfrm>
                <a:off x="8993596" y="2302537"/>
                <a:ext cx="2281535" cy="6438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r>
                  <a:rPr lang="el-GR" sz="2000" b="1">
                    <a:solidFill>
                      <a:schemeClr val="bg1"/>
                    </a:solidFill>
                    <a:latin typeface="Calibri" pitchFamily="34" charset="0"/>
                  </a:rPr>
                  <a:t>Λοιπές δραστηριότητες</a:t>
                </a:r>
              </a:p>
              <a:p>
                <a:r>
                  <a:rPr lang="el-GR" sz="2200" b="1">
                    <a:solidFill>
                      <a:schemeClr val="bg1"/>
                    </a:solidFill>
                    <a:latin typeface="Calibri" pitchFamily="34" charset="0"/>
                  </a:rPr>
                  <a:t> </a:t>
                </a:r>
              </a:p>
            </p:txBody>
          </p:sp>
        </p:grpSp>
        <p:sp>
          <p:nvSpPr>
            <p:cNvPr id="35" name="Rectangle 31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8381691" y="2840571"/>
              <a:ext cx="2977199" cy="134630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SzPts val="1200"/>
                <a:buFont typeface="Wingdings" panose="05000000000000000000" pitchFamily="2" charset="2"/>
                <a:buChar char="q"/>
                <a:defRPr/>
              </a:pPr>
              <a:r>
                <a:rPr lang="el-GR" sz="1600" kern="0" dirty="0">
                  <a:solidFill>
                    <a:schemeClr val="bg1"/>
                  </a:solidFill>
                  <a:latin typeface="+mn-lt"/>
                  <a:cs typeface="Arial"/>
                </a:rPr>
                <a:t>Δραστηριότητες </a:t>
              </a:r>
              <a:r>
                <a:rPr lang="el-GR" sz="1600" kern="0" dirty="0">
                  <a:solidFill>
                    <a:schemeClr val="bg1"/>
                  </a:solidFill>
                  <a:latin typeface="+mn-lt"/>
                  <a:cs typeface="Arial"/>
                </a:rPr>
                <a:t>υπηρεσιών εστιατορίων και κινητών μονάδων εστίασης</a:t>
              </a:r>
              <a:r>
                <a:rPr lang="el-GR" sz="1600" kern="0" dirty="0">
                  <a:solidFill>
                    <a:schemeClr val="bg1"/>
                  </a:solidFill>
                  <a:latin typeface="+mn-lt"/>
                  <a:cs typeface="Arial"/>
                </a:rPr>
                <a:t>.</a:t>
              </a:r>
              <a:endParaRPr lang="el-GR" sz="1600" kern="0" dirty="0">
                <a:solidFill>
                  <a:schemeClr val="bg1"/>
                </a:solidFill>
                <a:latin typeface="+mn-lt"/>
                <a:cs typeface="Arial"/>
              </a:endParaRPr>
            </a:p>
            <a:p>
              <a:pPr marL="285750" indent="-285750" fontAlgn="auto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SzPts val="1200"/>
                <a:buFont typeface="Wingdings" panose="05000000000000000000" pitchFamily="2" charset="2"/>
                <a:buChar char="q"/>
                <a:defRPr/>
              </a:pPr>
              <a:r>
                <a:rPr lang="el-GR" sz="1600" kern="0" dirty="0">
                  <a:solidFill>
                    <a:schemeClr val="bg1"/>
                  </a:solidFill>
                  <a:latin typeface="+mn-lt"/>
                  <a:cs typeface="Arial"/>
                </a:rPr>
                <a:t>Δραστηριότητες παροχής ποτών</a:t>
              </a:r>
              <a:r>
                <a:rPr lang="en-US" sz="1600" kern="0" dirty="0">
                  <a:solidFill>
                    <a:schemeClr val="bg1"/>
                  </a:solidFill>
                  <a:latin typeface="+mn-lt"/>
                  <a:cs typeface="Arial"/>
                </a:rPr>
                <a:t>.</a:t>
              </a:r>
              <a:endParaRPr lang="el-GR" sz="1600" kern="0" dirty="0">
                <a:solidFill>
                  <a:schemeClr val="bg1"/>
                </a:solidFill>
                <a:latin typeface="+mn-lt"/>
                <a:cs typeface="Arial"/>
              </a:endParaRPr>
            </a:p>
          </p:txBody>
        </p:sp>
        <p:sp>
          <p:nvSpPr>
            <p:cNvPr id="37" name="Rectangle: Diagonal Corners Snipped 7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-13299" y="1741548"/>
              <a:ext cx="3880702" cy="2080063"/>
            </a:xfrm>
            <a:prstGeom prst="snip2DiagRect">
              <a:avLst/>
            </a:prstGeom>
            <a:solidFill>
              <a:schemeClr val="accent2">
                <a:lumMod val="5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lIns="80669" tIns="80669" rIns="242029" bIns="80669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l-GR" sz="1050" dirty="0">
                <a:latin typeface="+mn-lt"/>
                <a:cs typeface="+mn-cs"/>
                <a:sym typeface="Georgia"/>
              </a:endParaRPr>
            </a:p>
          </p:txBody>
        </p:sp>
        <p:sp>
          <p:nvSpPr>
            <p:cNvPr id="287961" name="Rectangle 29"/>
            <p:cNvSpPr>
              <a:spLocks noChangeArrowheads="1"/>
            </p:cNvSpPr>
            <p:nvPr/>
          </p:nvSpPr>
          <p:spPr bwMode="auto">
            <a:xfrm>
              <a:off x="1076944" y="2028989"/>
              <a:ext cx="2433996" cy="7520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l-GR" sz="2000" b="1">
                  <a:solidFill>
                    <a:schemeClr val="bg1"/>
                  </a:solidFill>
                  <a:latin typeface="Calibri" pitchFamily="34" charset="0"/>
                </a:rPr>
                <a:t>Λιανικό εμπόριο</a:t>
              </a:r>
            </a:p>
            <a:p>
              <a:r>
                <a:rPr lang="el-GR" sz="2200" b="1">
                  <a:solidFill>
                    <a:schemeClr val="bg1"/>
                  </a:solidFill>
                  <a:latin typeface="Calibri" pitchFamily="34" charset="0"/>
                </a:rPr>
                <a:t> </a:t>
              </a:r>
            </a:p>
          </p:txBody>
        </p:sp>
        <p:sp>
          <p:nvSpPr>
            <p:cNvPr id="287962" name="Rectangle 31"/>
            <p:cNvSpPr>
              <a:spLocks noChangeArrowheads="1"/>
            </p:cNvSpPr>
            <p:nvPr/>
          </p:nvSpPr>
          <p:spPr bwMode="auto">
            <a:xfrm>
              <a:off x="416784" y="2659668"/>
              <a:ext cx="3282191" cy="1363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marL="342900" indent="-342900">
                <a:buFont typeface="Wingdings" pitchFamily="2" charset="2"/>
                <a:buChar char="q"/>
              </a:pPr>
              <a:r>
                <a:rPr lang="el-GR" sz="1600">
                  <a:solidFill>
                    <a:schemeClr val="bg1"/>
                  </a:solidFill>
                  <a:latin typeface="Calibri" pitchFamily="34" charset="0"/>
                </a:rPr>
                <a:t>Λιανικό εμπόριο (σε εμπορικά κέντρα (</a:t>
              </a:r>
              <a:r>
                <a:rPr lang="en-US" sz="1600">
                  <a:solidFill>
                    <a:schemeClr val="bg1"/>
                  </a:solidFill>
                  <a:latin typeface="Calibri" pitchFamily="34" charset="0"/>
                </a:rPr>
                <a:t>malls), </a:t>
              </a:r>
              <a:r>
                <a:rPr lang="el-GR" sz="1600">
                  <a:solidFill>
                    <a:schemeClr val="bg1"/>
                  </a:solidFill>
                  <a:latin typeface="Calibri" pitchFamily="34" charset="0"/>
                </a:rPr>
                <a:t>εκπτωτικά χωριά, εκπτωτικά καταστήματα (</a:t>
              </a:r>
              <a:r>
                <a:rPr lang="en-US" sz="1600">
                  <a:solidFill>
                    <a:schemeClr val="bg1"/>
                  </a:solidFill>
                  <a:latin typeface="Calibri" pitchFamily="34" charset="0"/>
                </a:rPr>
                <a:t>outlet)</a:t>
              </a:r>
              <a:r>
                <a:rPr lang="el-GR" sz="1600">
                  <a:solidFill>
                    <a:schemeClr val="bg1"/>
                  </a:solidFill>
                  <a:latin typeface="Calibri" pitchFamily="34" charset="0"/>
                </a:rPr>
                <a:t>).</a:t>
              </a:r>
            </a:p>
            <a:p>
              <a:pPr marL="342900" indent="-342900">
                <a:buFont typeface="Wingdings" pitchFamily="2" charset="2"/>
                <a:buChar char="q"/>
              </a:pPr>
              <a:endParaRPr lang="el-GR" sz="170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  <p:sp>
        <p:nvSpPr>
          <p:cNvPr id="287945" name="Freeform 106"/>
          <p:cNvSpPr>
            <a:spLocks noEditPoints="1"/>
          </p:cNvSpPr>
          <p:nvPr/>
        </p:nvSpPr>
        <p:spPr bwMode="auto">
          <a:xfrm>
            <a:off x="674688" y="2090738"/>
            <a:ext cx="527050" cy="573087"/>
          </a:xfrm>
          <a:custGeom>
            <a:avLst/>
            <a:gdLst>
              <a:gd name="T0" fmla="*/ 406794 w 192"/>
              <a:gd name="T1" fmla="*/ 92583 h 192"/>
              <a:gd name="T2" fmla="*/ 406794 w 192"/>
              <a:gd name="T3" fmla="*/ 0 h 192"/>
              <a:gd name="T4" fmla="*/ 120939 w 192"/>
              <a:gd name="T5" fmla="*/ 0 h 192"/>
              <a:gd name="T6" fmla="*/ 120939 w 192"/>
              <a:gd name="T7" fmla="*/ 92583 h 192"/>
              <a:gd name="T8" fmla="*/ 0 w 192"/>
              <a:gd name="T9" fmla="*/ 92583 h 192"/>
              <a:gd name="T10" fmla="*/ 0 w 192"/>
              <a:gd name="T11" fmla="*/ 229964 h 192"/>
              <a:gd name="T12" fmla="*/ 0 w 192"/>
              <a:gd name="T13" fmla="*/ 573417 h 192"/>
              <a:gd name="T14" fmla="*/ 426034 w 192"/>
              <a:gd name="T15" fmla="*/ 573417 h 192"/>
              <a:gd name="T16" fmla="*/ 527733 w 192"/>
              <a:gd name="T17" fmla="*/ 573417 h 192"/>
              <a:gd name="T18" fmla="*/ 527733 w 192"/>
              <a:gd name="T19" fmla="*/ 92583 h 192"/>
              <a:gd name="T20" fmla="*/ 406794 w 192"/>
              <a:gd name="T21" fmla="*/ 92583 h 192"/>
              <a:gd name="T22" fmla="*/ 142928 w 192"/>
              <a:gd name="T23" fmla="*/ 23892 h 192"/>
              <a:gd name="T24" fmla="*/ 384805 w 192"/>
              <a:gd name="T25" fmla="*/ 23892 h 192"/>
              <a:gd name="T26" fmla="*/ 384805 w 192"/>
              <a:gd name="T27" fmla="*/ 92583 h 192"/>
              <a:gd name="T28" fmla="*/ 142928 w 192"/>
              <a:gd name="T29" fmla="*/ 92583 h 192"/>
              <a:gd name="T30" fmla="*/ 142928 w 192"/>
              <a:gd name="T31" fmla="*/ 23892 h 192"/>
              <a:gd name="T32" fmla="*/ 21989 w 192"/>
              <a:gd name="T33" fmla="*/ 549525 h 192"/>
              <a:gd name="T34" fmla="*/ 21989 w 192"/>
              <a:gd name="T35" fmla="*/ 298655 h 192"/>
              <a:gd name="T36" fmla="*/ 71464 w 192"/>
              <a:gd name="T37" fmla="*/ 298655 h 192"/>
              <a:gd name="T38" fmla="*/ 354571 w 192"/>
              <a:gd name="T39" fmla="*/ 298655 h 192"/>
              <a:gd name="T40" fmla="*/ 404046 w 192"/>
              <a:gd name="T41" fmla="*/ 298655 h 192"/>
              <a:gd name="T42" fmla="*/ 404046 w 192"/>
              <a:gd name="T43" fmla="*/ 549525 h 192"/>
              <a:gd name="T44" fmla="*/ 21989 w 192"/>
              <a:gd name="T45" fmla="*/ 549525 h 192"/>
              <a:gd name="T46" fmla="*/ 93453 w 192"/>
              <a:gd name="T47" fmla="*/ 274762 h 192"/>
              <a:gd name="T48" fmla="*/ 167665 w 192"/>
              <a:gd name="T49" fmla="*/ 206072 h 192"/>
              <a:gd name="T50" fmla="*/ 258369 w 192"/>
              <a:gd name="T51" fmla="*/ 206072 h 192"/>
              <a:gd name="T52" fmla="*/ 332582 w 192"/>
              <a:gd name="T53" fmla="*/ 274762 h 192"/>
              <a:gd name="T54" fmla="*/ 93453 w 192"/>
              <a:gd name="T55" fmla="*/ 274762 h 192"/>
              <a:gd name="T56" fmla="*/ 505744 w 192"/>
              <a:gd name="T57" fmla="*/ 549525 h 192"/>
              <a:gd name="T58" fmla="*/ 426034 w 192"/>
              <a:gd name="T59" fmla="*/ 549525 h 192"/>
              <a:gd name="T60" fmla="*/ 426034 w 192"/>
              <a:gd name="T61" fmla="*/ 274762 h 192"/>
              <a:gd name="T62" fmla="*/ 354571 w 192"/>
              <a:gd name="T63" fmla="*/ 274762 h 192"/>
              <a:gd name="T64" fmla="*/ 258369 w 192"/>
              <a:gd name="T65" fmla="*/ 182179 h 192"/>
              <a:gd name="T66" fmla="*/ 167665 w 192"/>
              <a:gd name="T67" fmla="*/ 182179 h 192"/>
              <a:gd name="T68" fmla="*/ 71464 w 192"/>
              <a:gd name="T69" fmla="*/ 274762 h 192"/>
              <a:gd name="T70" fmla="*/ 21989 w 192"/>
              <a:gd name="T71" fmla="*/ 274762 h 192"/>
              <a:gd name="T72" fmla="*/ 21989 w 192"/>
              <a:gd name="T73" fmla="*/ 119462 h 192"/>
              <a:gd name="T74" fmla="*/ 505744 w 192"/>
              <a:gd name="T75" fmla="*/ 119462 h 192"/>
              <a:gd name="T76" fmla="*/ 505744 w 192"/>
              <a:gd name="T77" fmla="*/ 549525 h 19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92"/>
              <a:gd name="T118" fmla="*/ 0 h 192"/>
              <a:gd name="T119" fmla="*/ 192 w 192"/>
              <a:gd name="T120" fmla="*/ 192 h 192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92" h="192">
                <a:moveTo>
                  <a:pt x="148" y="31"/>
                </a:moveTo>
                <a:cubicBezTo>
                  <a:pt x="148" y="0"/>
                  <a:pt x="148" y="0"/>
                  <a:pt x="1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1"/>
                  <a:pt x="44" y="31"/>
                  <a:pt x="44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92"/>
                  <a:pt x="0" y="192"/>
                  <a:pt x="0" y="192"/>
                </a:cubicBezTo>
                <a:cubicBezTo>
                  <a:pt x="155" y="192"/>
                  <a:pt x="155" y="192"/>
                  <a:pt x="155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31"/>
                  <a:pt x="192" y="31"/>
                  <a:pt x="192" y="31"/>
                </a:cubicBezTo>
                <a:lnTo>
                  <a:pt x="148" y="31"/>
                </a:lnTo>
                <a:close/>
                <a:moveTo>
                  <a:pt x="52" y="8"/>
                </a:moveTo>
                <a:cubicBezTo>
                  <a:pt x="140" y="8"/>
                  <a:pt x="140" y="8"/>
                  <a:pt x="140" y="8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52" y="31"/>
                  <a:pt x="52" y="31"/>
                  <a:pt x="52" y="31"/>
                </a:cubicBezTo>
                <a:lnTo>
                  <a:pt x="52" y="8"/>
                </a:lnTo>
                <a:close/>
                <a:moveTo>
                  <a:pt x="8" y="184"/>
                </a:moveTo>
                <a:cubicBezTo>
                  <a:pt x="8" y="100"/>
                  <a:pt x="8" y="100"/>
                  <a:pt x="8" y="100"/>
                </a:cubicBezTo>
                <a:cubicBezTo>
                  <a:pt x="26" y="100"/>
                  <a:pt x="26" y="100"/>
                  <a:pt x="2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47" y="100"/>
                  <a:pt x="147" y="100"/>
                  <a:pt x="147" y="100"/>
                </a:cubicBezTo>
                <a:cubicBezTo>
                  <a:pt x="147" y="184"/>
                  <a:pt x="147" y="184"/>
                  <a:pt x="147" y="184"/>
                </a:cubicBezTo>
                <a:lnTo>
                  <a:pt x="8" y="184"/>
                </a:lnTo>
                <a:close/>
                <a:moveTo>
                  <a:pt x="34" y="92"/>
                </a:moveTo>
                <a:cubicBezTo>
                  <a:pt x="36" y="79"/>
                  <a:pt x="47" y="69"/>
                  <a:pt x="61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108" y="69"/>
                  <a:pt x="119" y="79"/>
                  <a:pt x="121" y="92"/>
                </a:cubicBezTo>
                <a:lnTo>
                  <a:pt x="34" y="92"/>
                </a:lnTo>
                <a:close/>
                <a:moveTo>
                  <a:pt x="184" y="184"/>
                </a:moveTo>
                <a:cubicBezTo>
                  <a:pt x="155" y="184"/>
                  <a:pt x="155" y="184"/>
                  <a:pt x="155" y="184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7" y="75"/>
                  <a:pt x="112" y="61"/>
                  <a:pt x="94" y="61"/>
                </a:cubicBezTo>
                <a:cubicBezTo>
                  <a:pt x="61" y="61"/>
                  <a:pt x="61" y="61"/>
                  <a:pt x="61" y="61"/>
                </a:cubicBezTo>
                <a:cubicBezTo>
                  <a:pt x="43" y="61"/>
                  <a:pt x="28" y="75"/>
                  <a:pt x="26" y="92"/>
                </a:cubicBezTo>
                <a:cubicBezTo>
                  <a:pt x="8" y="92"/>
                  <a:pt x="8" y="92"/>
                  <a:pt x="8" y="92"/>
                </a:cubicBezTo>
                <a:cubicBezTo>
                  <a:pt x="8" y="40"/>
                  <a:pt x="8" y="40"/>
                  <a:pt x="8" y="40"/>
                </a:cubicBezTo>
                <a:cubicBezTo>
                  <a:pt x="184" y="40"/>
                  <a:pt x="184" y="40"/>
                  <a:pt x="184" y="40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114300" tIns="57150" rIns="114300" bIns="57150"/>
          <a:lstStyle/>
          <a:p>
            <a:endParaRPr lang="el-GR"/>
          </a:p>
        </p:txBody>
      </p:sp>
      <p:sp>
        <p:nvSpPr>
          <p:cNvPr id="28" name="Rectangle: Diagonal Corners Snipped 6">
            <a:extLst>
              <a:ext uri="{FF2B5EF4-FFF2-40B4-BE49-F238E27FC236}"/>
            </a:extLst>
          </p:cNvPr>
          <p:cNvSpPr/>
          <p:nvPr/>
        </p:nvSpPr>
        <p:spPr>
          <a:xfrm>
            <a:off x="338138" y="3952875"/>
            <a:ext cx="3802062" cy="18034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lIns="80669" tIns="80669" rIns="242029" bIns="80669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l-GR" sz="1050" dirty="0">
              <a:latin typeface="+mn-lt"/>
              <a:cs typeface="+mn-cs"/>
              <a:sym typeface="Georgia"/>
            </a:endParaRPr>
          </a:p>
        </p:txBody>
      </p:sp>
      <p:sp>
        <p:nvSpPr>
          <p:cNvPr id="287947" name="Rectangle 29"/>
          <p:cNvSpPr>
            <a:spLocks noChangeArrowheads="1"/>
          </p:cNvSpPr>
          <p:nvPr/>
        </p:nvSpPr>
        <p:spPr bwMode="auto">
          <a:xfrm>
            <a:off x="1344613" y="4164013"/>
            <a:ext cx="2470150" cy="684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2000" b="1">
                <a:solidFill>
                  <a:schemeClr val="bg1"/>
                </a:solidFill>
                <a:latin typeface="Calibri" pitchFamily="34" charset="0"/>
              </a:rPr>
              <a:t>Λοιπές δραστηριότητες</a:t>
            </a:r>
          </a:p>
          <a:p>
            <a:r>
              <a:rPr lang="el-GR" sz="2200" b="1">
                <a:solidFill>
                  <a:schemeClr val="bg1"/>
                </a:solidFill>
                <a:latin typeface="Calibri" pitchFamily="34" charset="0"/>
              </a:rPr>
              <a:t> </a:t>
            </a:r>
          </a:p>
        </p:txBody>
      </p:sp>
      <p:sp>
        <p:nvSpPr>
          <p:cNvPr id="40" name="Rectangle 31">
            <a:extLst>
              <a:ext uri="{FF2B5EF4-FFF2-40B4-BE49-F238E27FC236}"/>
            </a:extLst>
          </p:cNvPr>
          <p:cNvSpPr/>
          <p:nvPr/>
        </p:nvSpPr>
        <p:spPr>
          <a:xfrm>
            <a:off x="733425" y="5068888"/>
            <a:ext cx="2924175" cy="584200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600" kern="0" dirty="0">
                <a:solidFill>
                  <a:schemeClr val="bg1"/>
                </a:solidFill>
                <a:latin typeface="+mn-lt"/>
                <a:cs typeface="Arial"/>
              </a:rPr>
              <a:t>Βοτανικοί και ζωολογικοί κήποι και φυσικοί βιότοποι.</a:t>
            </a:r>
          </a:p>
        </p:txBody>
      </p:sp>
      <p:sp>
        <p:nvSpPr>
          <p:cNvPr id="45" name="Freeform 268">
            <a:extLst>
              <a:ext uri="{FF2B5EF4-FFF2-40B4-BE49-F238E27FC236}"/>
            </a:extLst>
          </p:cNvPr>
          <p:cNvSpPr>
            <a:spLocks noChangeAspect="1" noEditPoints="1"/>
          </p:cNvSpPr>
          <p:nvPr/>
        </p:nvSpPr>
        <p:spPr bwMode="auto">
          <a:xfrm>
            <a:off x="654050" y="4252913"/>
            <a:ext cx="530225" cy="528637"/>
          </a:xfrm>
          <a:custGeom>
            <a:avLst/>
            <a:gdLst>
              <a:gd name="T0" fmla="*/ 0 w 297"/>
              <a:gd name="T1" fmla="*/ 0 h 298"/>
              <a:gd name="T2" fmla="*/ 0 w 297"/>
              <a:gd name="T3" fmla="*/ 298 h 298"/>
              <a:gd name="T4" fmla="*/ 138 w 297"/>
              <a:gd name="T5" fmla="*/ 298 h 298"/>
              <a:gd name="T6" fmla="*/ 138 w 297"/>
              <a:gd name="T7" fmla="*/ 236 h 298"/>
              <a:gd name="T8" fmla="*/ 86 w 297"/>
              <a:gd name="T9" fmla="*/ 236 h 298"/>
              <a:gd name="T10" fmla="*/ 122 w 297"/>
              <a:gd name="T11" fmla="*/ 174 h 298"/>
              <a:gd name="T12" fmla="*/ 100 w 297"/>
              <a:gd name="T13" fmla="*/ 174 h 298"/>
              <a:gd name="T14" fmla="*/ 133 w 297"/>
              <a:gd name="T15" fmla="*/ 116 h 298"/>
              <a:gd name="T16" fmla="*/ 113 w 297"/>
              <a:gd name="T17" fmla="*/ 116 h 298"/>
              <a:gd name="T18" fmla="*/ 149 w 297"/>
              <a:gd name="T19" fmla="*/ 55 h 298"/>
              <a:gd name="T20" fmla="*/ 184 w 297"/>
              <a:gd name="T21" fmla="*/ 116 h 298"/>
              <a:gd name="T22" fmla="*/ 165 w 297"/>
              <a:gd name="T23" fmla="*/ 116 h 298"/>
              <a:gd name="T24" fmla="*/ 198 w 297"/>
              <a:gd name="T25" fmla="*/ 174 h 298"/>
              <a:gd name="T26" fmla="*/ 175 w 297"/>
              <a:gd name="T27" fmla="*/ 174 h 298"/>
              <a:gd name="T28" fmla="*/ 211 w 297"/>
              <a:gd name="T29" fmla="*/ 236 h 298"/>
              <a:gd name="T30" fmla="*/ 160 w 297"/>
              <a:gd name="T31" fmla="*/ 236 h 298"/>
              <a:gd name="T32" fmla="*/ 160 w 297"/>
              <a:gd name="T33" fmla="*/ 298 h 298"/>
              <a:gd name="T34" fmla="*/ 297 w 297"/>
              <a:gd name="T35" fmla="*/ 298 h 298"/>
              <a:gd name="T36" fmla="*/ 297 w 297"/>
              <a:gd name="T37" fmla="*/ 0 h 298"/>
              <a:gd name="T38" fmla="*/ 0 w 297"/>
              <a:gd name="T39" fmla="*/ 0 h 298"/>
              <a:gd name="T40" fmla="*/ 284 w 297"/>
              <a:gd name="T41" fmla="*/ 285 h 298"/>
              <a:gd name="T42" fmla="*/ 173 w 297"/>
              <a:gd name="T43" fmla="*/ 285 h 298"/>
              <a:gd name="T44" fmla="*/ 173 w 297"/>
              <a:gd name="T45" fmla="*/ 249 h 298"/>
              <a:gd name="T46" fmla="*/ 233 w 297"/>
              <a:gd name="T47" fmla="*/ 249 h 298"/>
              <a:gd name="T48" fmla="*/ 197 w 297"/>
              <a:gd name="T49" fmla="*/ 187 h 298"/>
              <a:gd name="T50" fmla="*/ 219 w 297"/>
              <a:gd name="T51" fmla="*/ 187 h 298"/>
              <a:gd name="T52" fmla="*/ 186 w 297"/>
              <a:gd name="T53" fmla="*/ 129 h 298"/>
              <a:gd name="T54" fmla="*/ 206 w 297"/>
              <a:gd name="T55" fmla="*/ 129 h 298"/>
              <a:gd name="T56" fmla="*/ 149 w 297"/>
              <a:gd name="T57" fmla="*/ 30 h 298"/>
              <a:gd name="T58" fmla="*/ 92 w 297"/>
              <a:gd name="T59" fmla="*/ 129 h 298"/>
              <a:gd name="T60" fmla="*/ 111 w 297"/>
              <a:gd name="T61" fmla="*/ 129 h 298"/>
              <a:gd name="T62" fmla="*/ 78 w 297"/>
              <a:gd name="T63" fmla="*/ 187 h 298"/>
              <a:gd name="T64" fmla="*/ 100 w 297"/>
              <a:gd name="T65" fmla="*/ 187 h 298"/>
              <a:gd name="T66" fmla="*/ 64 w 297"/>
              <a:gd name="T67" fmla="*/ 249 h 298"/>
              <a:gd name="T68" fmla="*/ 125 w 297"/>
              <a:gd name="T69" fmla="*/ 249 h 298"/>
              <a:gd name="T70" fmla="*/ 125 w 297"/>
              <a:gd name="T71" fmla="*/ 285 h 298"/>
              <a:gd name="T72" fmla="*/ 13 w 297"/>
              <a:gd name="T73" fmla="*/ 285 h 298"/>
              <a:gd name="T74" fmla="*/ 13 w 297"/>
              <a:gd name="T75" fmla="*/ 12 h 298"/>
              <a:gd name="T76" fmla="*/ 284 w 297"/>
              <a:gd name="T77" fmla="*/ 12 h 298"/>
              <a:gd name="T78" fmla="*/ 284 w 297"/>
              <a:gd name="T79" fmla="*/ 285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7" h="298">
                <a:moveTo>
                  <a:pt x="0" y="0"/>
                </a:moveTo>
                <a:lnTo>
                  <a:pt x="0" y="298"/>
                </a:lnTo>
                <a:lnTo>
                  <a:pt x="138" y="298"/>
                </a:lnTo>
                <a:lnTo>
                  <a:pt x="138" y="236"/>
                </a:lnTo>
                <a:lnTo>
                  <a:pt x="86" y="236"/>
                </a:lnTo>
                <a:lnTo>
                  <a:pt x="122" y="174"/>
                </a:lnTo>
                <a:lnTo>
                  <a:pt x="100" y="174"/>
                </a:lnTo>
                <a:lnTo>
                  <a:pt x="133" y="116"/>
                </a:lnTo>
                <a:lnTo>
                  <a:pt x="113" y="116"/>
                </a:lnTo>
                <a:lnTo>
                  <a:pt x="149" y="55"/>
                </a:lnTo>
                <a:lnTo>
                  <a:pt x="184" y="116"/>
                </a:lnTo>
                <a:lnTo>
                  <a:pt x="165" y="116"/>
                </a:lnTo>
                <a:lnTo>
                  <a:pt x="198" y="174"/>
                </a:lnTo>
                <a:lnTo>
                  <a:pt x="175" y="174"/>
                </a:lnTo>
                <a:lnTo>
                  <a:pt x="211" y="236"/>
                </a:lnTo>
                <a:lnTo>
                  <a:pt x="160" y="236"/>
                </a:lnTo>
                <a:lnTo>
                  <a:pt x="160" y="298"/>
                </a:lnTo>
                <a:lnTo>
                  <a:pt x="297" y="298"/>
                </a:lnTo>
                <a:lnTo>
                  <a:pt x="297" y="0"/>
                </a:lnTo>
                <a:lnTo>
                  <a:pt x="0" y="0"/>
                </a:lnTo>
                <a:close/>
                <a:moveTo>
                  <a:pt x="284" y="285"/>
                </a:moveTo>
                <a:lnTo>
                  <a:pt x="173" y="285"/>
                </a:lnTo>
                <a:lnTo>
                  <a:pt x="173" y="249"/>
                </a:lnTo>
                <a:lnTo>
                  <a:pt x="233" y="249"/>
                </a:lnTo>
                <a:lnTo>
                  <a:pt x="197" y="187"/>
                </a:lnTo>
                <a:lnTo>
                  <a:pt x="219" y="187"/>
                </a:lnTo>
                <a:lnTo>
                  <a:pt x="186" y="129"/>
                </a:lnTo>
                <a:lnTo>
                  <a:pt x="206" y="129"/>
                </a:lnTo>
                <a:lnTo>
                  <a:pt x="149" y="30"/>
                </a:lnTo>
                <a:lnTo>
                  <a:pt x="92" y="129"/>
                </a:lnTo>
                <a:lnTo>
                  <a:pt x="111" y="129"/>
                </a:lnTo>
                <a:lnTo>
                  <a:pt x="78" y="187"/>
                </a:lnTo>
                <a:lnTo>
                  <a:pt x="100" y="187"/>
                </a:lnTo>
                <a:lnTo>
                  <a:pt x="64" y="249"/>
                </a:lnTo>
                <a:lnTo>
                  <a:pt x="125" y="249"/>
                </a:lnTo>
                <a:lnTo>
                  <a:pt x="125" y="285"/>
                </a:lnTo>
                <a:lnTo>
                  <a:pt x="13" y="285"/>
                </a:lnTo>
                <a:lnTo>
                  <a:pt x="13" y="12"/>
                </a:lnTo>
                <a:lnTo>
                  <a:pt x="284" y="12"/>
                </a:lnTo>
                <a:lnTo>
                  <a:pt x="284" y="28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lIns="114300" tIns="57150" rIns="114300" bIns="57150"/>
          <a:lstStyle/>
          <a:p>
            <a:pPr defTabSz="11430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250">
              <a:latin typeface="+mn-lt"/>
              <a:cs typeface="+mn-cs"/>
            </a:endParaRPr>
          </a:p>
        </p:txBody>
      </p:sp>
      <p:sp>
        <p:nvSpPr>
          <p:cNvPr id="46" name="Rectangle: Diagonal Corners Snipped 26">
            <a:extLst>
              <a:ext uri="{FF2B5EF4-FFF2-40B4-BE49-F238E27FC236}"/>
            </a:extLst>
          </p:cNvPr>
          <p:cNvSpPr/>
          <p:nvPr/>
        </p:nvSpPr>
        <p:spPr>
          <a:xfrm>
            <a:off x="7902575" y="544513"/>
            <a:ext cx="4003675" cy="874712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l-GR" sz="2400" b="1">
                <a:solidFill>
                  <a:schemeClr val="bg1"/>
                </a:solidFill>
                <a:latin typeface="Calibri" pitchFamily="34" charset="0"/>
                <a:sym typeface="Georgia" pitchFamily="18" charset="0"/>
              </a:rPr>
              <a:t>4</a:t>
            </a:r>
            <a:r>
              <a:rPr lang="en-GB" sz="2400" b="1">
                <a:solidFill>
                  <a:schemeClr val="bg1"/>
                </a:solidFill>
                <a:latin typeface="Calibri" pitchFamily="34" charset="0"/>
                <a:sym typeface="Georgia" pitchFamily="18" charset="0"/>
              </a:rPr>
              <a:t>o </a:t>
            </a:r>
            <a:r>
              <a:rPr lang="el-GR" sz="2400" b="1">
                <a:solidFill>
                  <a:schemeClr val="bg1"/>
                </a:solidFill>
                <a:latin typeface="Calibri" pitchFamily="34" charset="0"/>
                <a:sym typeface="Georgia" pitchFamily="18" charset="0"/>
              </a:rPr>
              <a:t>Στάδιο – 25 Μαΐου</a:t>
            </a:r>
          </a:p>
        </p:txBody>
      </p:sp>
      <p:grpSp>
        <p:nvGrpSpPr>
          <p:cNvPr id="47" name="Group 9">
            <a:extLst>
              <a:ext uri="{FF2B5EF4-FFF2-40B4-BE49-F238E27FC236}"/>
            </a:extLst>
          </p:cNvPr>
          <p:cNvGrpSpPr>
            <a:grpSpLocks noChangeAspect="1"/>
          </p:cNvGrpSpPr>
          <p:nvPr/>
        </p:nvGrpSpPr>
        <p:grpSpPr>
          <a:xfrm>
            <a:off x="8426531" y="2167974"/>
            <a:ext cx="552161" cy="559331"/>
            <a:chOff x="2424113" y="1219200"/>
            <a:chExt cx="122238" cy="123825"/>
          </a:xfrm>
          <a:solidFill>
            <a:schemeClr val="bg1"/>
          </a:solidFill>
        </p:grpSpPr>
        <p:sp>
          <p:nvSpPr>
            <p:cNvPr id="48" name="Freeform 93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2424113" y="1219200"/>
              <a:ext cx="122238" cy="123825"/>
            </a:xfrm>
            <a:custGeom>
              <a:avLst/>
              <a:gdLst>
                <a:gd name="T0" fmla="*/ 0 w 77"/>
                <a:gd name="T1" fmla="*/ 0 h 78"/>
                <a:gd name="T2" fmla="*/ 0 w 77"/>
                <a:gd name="T3" fmla="*/ 78 h 78"/>
                <a:gd name="T4" fmla="*/ 77 w 77"/>
                <a:gd name="T5" fmla="*/ 78 h 78"/>
                <a:gd name="T6" fmla="*/ 77 w 77"/>
                <a:gd name="T7" fmla="*/ 0 h 78"/>
                <a:gd name="T8" fmla="*/ 0 w 77"/>
                <a:gd name="T9" fmla="*/ 0 h 78"/>
                <a:gd name="T10" fmla="*/ 74 w 77"/>
                <a:gd name="T11" fmla="*/ 74 h 78"/>
                <a:gd name="T12" fmla="*/ 3 w 77"/>
                <a:gd name="T13" fmla="*/ 74 h 78"/>
                <a:gd name="T14" fmla="*/ 3 w 77"/>
                <a:gd name="T15" fmla="*/ 3 h 78"/>
                <a:gd name="T16" fmla="*/ 74 w 77"/>
                <a:gd name="T17" fmla="*/ 3 h 78"/>
                <a:gd name="T18" fmla="*/ 74 w 77"/>
                <a:gd name="T19" fmla="*/ 7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78">
                  <a:moveTo>
                    <a:pt x="0" y="0"/>
                  </a:moveTo>
                  <a:lnTo>
                    <a:pt x="0" y="78"/>
                  </a:lnTo>
                  <a:lnTo>
                    <a:pt x="77" y="78"/>
                  </a:lnTo>
                  <a:lnTo>
                    <a:pt x="77" y="0"/>
                  </a:lnTo>
                  <a:lnTo>
                    <a:pt x="0" y="0"/>
                  </a:lnTo>
                  <a:close/>
                  <a:moveTo>
                    <a:pt x="74" y="74"/>
                  </a:moveTo>
                  <a:lnTo>
                    <a:pt x="3" y="74"/>
                  </a:lnTo>
                  <a:lnTo>
                    <a:pt x="3" y="3"/>
                  </a:lnTo>
                  <a:lnTo>
                    <a:pt x="74" y="3"/>
                  </a:lnTo>
                  <a:lnTo>
                    <a:pt x="74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114300" tIns="57150" rIns="114300" bIns="57150"/>
            <a:lstStyle/>
            <a:p>
              <a:pPr defTabSz="11430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250">
                <a:latin typeface="+mn-lt"/>
                <a:cs typeface="+mn-cs"/>
              </a:endParaRPr>
            </a:p>
          </p:txBody>
        </p:sp>
        <p:sp>
          <p:nvSpPr>
            <p:cNvPr id="49" name="Freeform 94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2501900" y="1244600"/>
              <a:ext cx="25400" cy="82550"/>
            </a:xfrm>
            <a:custGeom>
              <a:avLst/>
              <a:gdLst>
                <a:gd name="T0" fmla="*/ 113 w 113"/>
                <a:gd name="T1" fmla="*/ 93 h 381"/>
                <a:gd name="T2" fmla="*/ 57 w 113"/>
                <a:gd name="T3" fmla="*/ 0 h 381"/>
                <a:gd name="T4" fmla="*/ 0 w 113"/>
                <a:gd name="T5" fmla="*/ 93 h 381"/>
                <a:gd name="T6" fmla="*/ 24 w 113"/>
                <a:gd name="T7" fmla="*/ 158 h 381"/>
                <a:gd name="T8" fmla="*/ 24 w 113"/>
                <a:gd name="T9" fmla="*/ 381 h 381"/>
                <a:gd name="T10" fmla="*/ 90 w 113"/>
                <a:gd name="T11" fmla="*/ 381 h 381"/>
                <a:gd name="T12" fmla="*/ 90 w 113"/>
                <a:gd name="T13" fmla="*/ 158 h 381"/>
                <a:gd name="T14" fmla="*/ 113 w 113"/>
                <a:gd name="T15" fmla="*/ 93 h 381"/>
                <a:gd name="T16" fmla="*/ 57 w 113"/>
                <a:gd name="T17" fmla="*/ 24 h 381"/>
                <a:gd name="T18" fmla="*/ 89 w 113"/>
                <a:gd name="T19" fmla="*/ 93 h 381"/>
                <a:gd name="T20" fmla="*/ 57 w 113"/>
                <a:gd name="T21" fmla="*/ 146 h 381"/>
                <a:gd name="T22" fmla="*/ 25 w 113"/>
                <a:gd name="T23" fmla="*/ 93 h 381"/>
                <a:gd name="T24" fmla="*/ 57 w 113"/>
                <a:gd name="T25" fmla="*/ 24 h 381"/>
                <a:gd name="T26" fmla="*/ 65 w 113"/>
                <a:gd name="T27" fmla="*/ 357 h 381"/>
                <a:gd name="T28" fmla="*/ 48 w 113"/>
                <a:gd name="T29" fmla="*/ 357 h 381"/>
                <a:gd name="T30" fmla="*/ 48 w 113"/>
                <a:gd name="T31" fmla="*/ 170 h 381"/>
                <a:gd name="T32" fmla="*/ 57 w 113"/>
                <a:gd name="T33" fmla="*/ 170 h 381"/>
                <a:gd name="T34" fmla="*/ 65 w 113"/>
                <a:gd name="T35" fmla="*/ 170 h 381"/>
                <a:gd name="T36" fmla="*/ 65 w 113"/>
                <a:gd name="T37" fmla="*/ 357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3" h="381">
                  <a:moveTo>
                    <a:pt x="113" y="93"/>
                  </a:moveTo>
                  <a:cubicBezTo>
                    <a:pt x="113" y="40"/>
                    <a:pt x="89" y="0"/>
                    <a:pt x="57" y="0"/>
                  </a:cubicBezTo>
                  <a:cubicBezTo>
                    <a:pt x="25" y="0"/>
                    <a:pt x="0" y="40"/>
                    <a:pt x="0" y="93"/>
                  </a:cubicBezTo>
                  <a:cubicBezTo>
                    <a:pt x="0" y="117"/>
                    <a:pt x="7" y="143"/>
                    <a:pt x="24" y="158"/>
                  </a:cubicBezTo>
                  <a:cubicBezTo>
                    <a:pt x="24" y="381"/>
                    <a:pt x="24" y="381"/>
                    <a:pt x="24" y="381"/>
                  </a:cubicBezTo>
                  <a:cubicBezTo>
                    <a:pt x="90" y="381"/>
                    <a:pt x="90" y="381"/>
                    <a:pt x="90" y="381"/>
                  </a:cubicBezTo>
                  <a:cubicBezTo>
                    <a:pt x="90" y="158"/>
                    <a:pt x="90" y="158"/>
                    <a:pt x="90" y="158"/>
                  </a:cubicBezTo>
                  <a:cubicBezTo>
                    <a:pt x="107" y="143"/>
                    <a:pt x="113" y="117"/>
                    <a:pt x="113" y="93"/>
                  </a:cubicBezTo>
                  <a:close/>
                  <a:moveTo>
                    <a:pt x="57" y="24"/>
                  </a:moveTo>
                  <a:cubicBezTo>
                    <a:pt x="72" y="24"/>
                    <a:pt x="89" y="53"/>
                    <a:pt x="89" y="93"/>
                  </a:cubicBezTo>
                  <a:cubicBezTo>
                    <a:pt x="89" y="126"/>
                    <a:pt x="77" y="146"/>
                    <a:pt x="57" y="146"/>
                  </a:cubicBezTo>
                  <a:cubicBezTo>
                    <a:pt x="37" y="146"/>
                    <a:pt x="25" y="126"/>
                    <a:pt x="25" y="93"/>
                  </a:cubicBezTo>
                  <a:cubicBezTo>
                    <a:pt x="25" y="53"/>
                    <a:pt x="42" y="24"/>
                    <a:pt x="57" y="24"/>
                  </a:cubicBezTo>
                  <a:close/>
                  <a:moveTo>
                    <a:pt x="65" y="357"/>
                  </a:moveTo>
                  <a:cubicBezTo>
                    <a:pt x="48" y="357"/>
                    <a:pt x="48" y="357"/>
                    <a:pt x="48" y="357"/>
                  </a:cubicBezTo>
                  <a:cubicBezTo>
                    <a:pt x="48" y="170"/>
                    <a:pt x="48" y="170"/>
                    <a:pt x="48" y="170"/>
                  </a:cubicBezTo>
                  <a:cubicBezTo>
                    <a:pt x="51" y="170"/>
                    <a:pt x="54" y="170"/>
                    <a:pt x="57" y="170"/>
                  </a:cubicBezTo>
                  <a:cubicBezTo>
                    <a:pt x="60" y="170"/>
                    <a:pt x="63" y="170"/>
                    <a:pt x="65" y="170"/>
                  </a:cubicBezTo>
                  <a:lnTo>
                    <a:pt x="65" y="3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114300" tIns="57150" rIns="114300" bIns="57150"/>
            <a:lstStyle/>
            <a:p>
              <a:pPr defTabSz="11430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250">
                <a:latin typeface="+mn-lt"/>
                <a:cs typeface="+mn-cs"/>
              </a:endParaRPr>
            </a:p>
          </p:txBody>
        </p:sp>
        <p:sp>
          <p:nvSpPr>
            <p:cNvPr id="50" name="Freeform 95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2476500" y="1233488"/>
              <a:ext cx="17463" cy="93663"/>
            </a:xfrm>
            <a:custGeom>
              <a:avLst/>
              <a:gdLst>
                <a:gd name="T0" fmla="*/ 72 w 84"/>
                <a:gd name="T1" fmla="*/ 0 h 433"/>
                <a:gd name="T2" fmla="*/ 1 w 84"/>
                <a:gd name="T3" fmla="*/ 81 h 433"/>
                <a:gd name="T4" fmla="*/ 0 w 84"/>
                <a:gd name="T5" fmla="*/ 224 h 433"/>
                <a:gd name="T6" fmla="*/ 0 w 84"/>
                <a:gd name="T7" fmla="*/ 236 h 433"/>
                <a:gd name="T8" fmla="*/ 18 w 84"/>
                <a:gd name="T9" fmla="*/ 236 h 433"/>
                <a:gd name="T10" fmla="*/ 18 w 84"/>
                <a:gd name="T11" fmla="*/ 433 h 433"/>
                <a:gd name="T12" fmla="*/ 84 w 84"/>
                <a:gd name="T13" fmla="*/ 433 h 433"/>
                <a:gd name="T14" fmla="*/ 84 w 84"/>
                <a:gd name="T15" fmla="*/ 235 h 433"/>
                <a:gd name="T16" fmla="*/ 84 w 84"/>
                <a:gd name="T17" fmla="*/ 141 h 433"/>
                <a:gd name="T18" fmla="*/ 84 w 84"/>
                <a:gd name="T19" fmla="*/ 0 h 433"/>
                <a:gd name="T20" fmla="*/ 72 w 84"/>
                <a:gd name="T21" fmla="*/ 0 h 433"/>
                <a:gd name="T22" fmla="*/ 25 w 84"/>
                <a:gd name="T23" fmla="*/ 81 h 433"/>
                <a:gd name="T24" fmla="*/ 59 w 84"/>
                <a:gd name="T25" fmla="*/ 26 h 433"/>
                <a:gd name="T26" fmla="*/ 59 w 84"/>
                <a:gd name="T27" fmla="*/ 211 h 433"/>
                <a:gd name="T28" fmla="*/ 25 w 84"/>
                <a:gd name="T29" fmla="*/ 211 h 433"/>
                <a:gd name="T30" fmla="*/ 25 w 84"/>
                <a:gd name="T31" fmla="*/ 81 h 433"/>
                <a:gd name="T32" fmla="*/ 59 w 84"/>
                <a:gd name="T33" fmla="*/ 409 h 433"/>
                <a:gd name="T34" fmla="*/ 42 w 84"/>
                <a:gd name="T35" fmla="*/ 409 h 433"/>
                <a:gd name="T36" fmla="*/ 42 w 84"/>
                <a:gd name="T37" fmla="*/ 236 h 433"/>
                <a:gd name="T38" fmla="*/ 59 w 84"/>
                <a:gd name="T39" fmla="*/ 235 h 433"/>
                <a:gd name="T40" fmla="*/ 59 w 84"/>
                <a:gd name="T41" fmla="*/ 409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4" h="433">
                  <a:moveTo>
                    <a:pt x="72" y="0"/>
                  </a:moveTo>
                  <a:cubicBezTo>
                    <a:pt x="33" y="0"/>
                    <a:pt x="1" y="37"/>
                    <a:pt x="1" y="81"/>
                  </a:cubicBezTo>
                  <a:cubicBezTo>
                    <a:pt x="1" y="120"/>
                    <a:pt x="0" y="223"/>
                    <a:pt x="0" y="224"/>
                  </a:cubicBezTo>
                  <a:cubicBezTo>
                    <a:pt x="0" y="236"/>
                    <a:pt x="0" y="236"/>
                    <a:pt x="0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8" y="433"/>
                    <a:pt x="18" y="433"/>
                    <a:pt x="18" y="433"/>
                  </a:cubicBezTo>
                  <a:cubicBezTo>
                    <a:pt x="84" y="433"/>
                    <a:pt x="84" y="433"/>
                    <a:pt x="84" y="433"/>
                  </a:cubicBezTo>
                  <a:cubicBezTo>
                    <a:pt x="84" y="235"/>
                    <a:pt x="84" y="235"/>
                    <a:pt x="84" y="235"/>
                  </a:cubicBezTo>
                  <a:cubicBezTo>
                    <a:pt x="84" y="141"/>
                    <a:pt x="84" y="141"/>
                    <a:pt x="84" y="141"/>
                  </a:cubicBezTo>
                  <a:cubicBezTo>
                    <a:pt x="84" y="0"/>
                    <a:pt x="84" y="0"/>
                    <a:pt x="84" y="0"/>
                  </a:cubicBezTo>
                  <a:lnTo>
                    <a:pt x="72" y="0"/>
                  </a:lnTo>
                  <a:close/>
                  <a:moveTo>
                    <a:pt x="25" y="81"/>
                  </a:moveTo>
                  <a:cubicBezTo>
                    <a:pt x="25" y="56"/>
                    <a:pt x="40" y="33"/>
                    <a:pt x="59" y="26"/>
                  </a:cubicBezTo>
                  <a:cubicBezTo>
                    <a:pt x="59" y="211"/>
                    <a:pt x="59" y="211"/>
                    <a:pt x="59" y="211"/>
                  </a:cubicBezTo>
                  <a:cubicBezTo>
                    <a:pt x="25" y="211"/>
                    <a:pt x="25" y="211"/>
                    <a:pt x="25" y="211"/>
                  </a:cubicBezTo>
                  <a:cubicBezTo>
                    <a:pt x="25" y="182"/>
                    <a:pt x="25" y="112"/>
                    <a:pt x="25" y="81"/>
                  </a:cubicBezTo>
                  <a:close/>
                  <a:moveTo>
                    <a:pt x="59" y="409"/>
                  </a:moveTo>
                  <a:cubicBezTo>
                    <a:pt x="42" y="409"/>
                    <a:pt x="42" y="409"/>
                    <a:pt x="42" y="409"/>
                  </a:cubicBezTo>
                  <a:cubicBezTo>
                    <a:pt x="42" y="236"/>
                    <a:pt x="42" y="236"/>
                    <a:pt x="42" y="236"/>
                  </a:cubicBezTo>
                  <a:cubicBezTo>
                    <a:pt x="59" y="235"/>
                    <a:pt x="59" y="235"/>
                    <a:pt x="59" y="235"/>
                  </a:cubicBezTo>
                  <a:lnTo>
                    <a:pt x="59" y="4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114300" tIns="57150" rIns="114300" bIns="57150"/>
            <a:lstStyle/>
            <a:p>
              <a:pPr defTabSz="11430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250">
                <a:latin typeface="+mn-lt"/>
                <a:cs typeface="+mn-cs"/>
              </a:endParaRPr>
            </a:p>
          </p:txBody>
        </p:sp>
        <p:sp>
          <p:nvSpPr>
            <p:cNvPr id="51" name="Freeform 96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2443163" y="1244600"/>
              <a:ext cx="25400" cy="82550"/>
            </a:xfrm>
            <a:custGeom>
              <a:avLst/>
              <a:gdLst>
                <a:gd name="T0" fmla="*/ 0 w 122"/>
                <a:gd name="T1" fmla="*/ 0 h 381"/>
                <a:gd name="T2" fmla="*/ 0 w 122"/>
                <a:gd name="T3" fmla="*/ 101 h 381"/>
                <a:gd name="T4" fmla="*/ 28 w 122"/>
                <a:gd name="T5" fmla="*/ 175 h 381"/>
                <a:gd name="T6" fmla="*/ 28 w 122"/>
                <a:gd name="T7" fmla="*/ 381 h 381"/>
                <a:gd name="T8" fmla="*/ 94 w 122"/>
                <a:gd name="T9" fmla="*/ 381 h 381"/>
                <a:gd name="T10" fmla="*/ 94 w 122"/>
                <a:gd name="T11" fmla="*/ 175 h 381"/>
                <a:gd name="T12" fmla="*/ 122 w 122"/>
                <a:gd name="T13" fmla="*/ 101 h 381"/>
                <a:gd name="T14" fmla="*/ 122 w 122"/>
                <a:gd name="T15" fmla="*/ 0 h 381"/>
                <a:gd name="T16" fmla="*/ 0 w 122"/>
                <a:gd name="T17" fmla="*/ 0 h 381"/>
                <a:gd name="T18" fmla="*/ 69 w 122"/>
                <a:gd name="T19" fmla="*/ 357 h 381"/>
                <a:gd name="T20" fmla="*/ 52 w 122"/>
                <a:gd name="T21" fmla="*/ 357 h 381"/>
                <a:gd name="T22" fmla="*/ 52 w 122"/>
                <a:gd name="T23" fmla="*/ 185 h 381"/>
                <a:gd name="T24" fmla="*/ 61 w 122"/>
                <a:gd name="T25" fmla="*/ 186 h 381"/>
                <a:gd name="T26" fmla="*/ 69 w 122"/>
                <a:gd name="T27" fmla="*/ 185 h 381"/>
                <a:gd name="T28" fmla="*/ 69 w 122"/>
                <a:gd name="T29" fmla="*/ 357 h 381"/>
                <a:gd name="T30" fmla="*/ 98 w 122"/>
                <a:gd name="T31" fmla="*/ 101 h 381"/>
                <a:gd name="T32" fmla="*/ 61 w 122"/>
                <a:gd name="T33" fmla="*/ 161 h 381"/>
                <a:gd name="T34" fmla="*/ 24 w 122"/>
                <a:gd name="T35" fmla="*/ 101 h 381"/>
                <a:gd name="T36" fmla="*/ 24 w 122"/>
                <a:gd name="T37" fmla="*/ 24 h 381"/>
                <a:gd name="T38" fmla="*/ 38 w 122"/>
                <a:gd name="T39" fmla="*/ 24 h 381"/>
                <a:gd name="T40" fmla="*/ 38 w 122"/>
                <a:gd name="T41" fmla="*/ 89 h 381"/>
                <a:gd name="T42" fmla="*/ 54 w 122"/>
                <a:gd name="T43" fmla="*/ 89 h 381"/>
                <a:gd name="T44" fmla="*/ 54 w 122"/>
                <a:gd name="T45" fmla="*/ 24 h 381"/>
                <a:gd name="T46" fmla="*/ 67 w 122"/>
                <a:gd name="T47" fmla="*/ 24 h 381"/>
                <a:gd name="T48" fmla="*/ 67 w 122"/>
                <a:gd name="T49" fmla="*/ 89 h 381"/>
                <a:gd name="T50" fmla="*/ 83 w 122"/>
                <a:gd name="T51" fmla="*/ 89 h 381"/>
                <a:gd name="T52" fmla="*/ 83 w 122"/>
                <a:gd name="T53" fmla="*/ 24 h 381"/>
                <a:gd name="T54" fmla="*/ 98 w 122"/>
                <a:gd name="T55" fmla="*/ 24 h 381"/>
                <a:gd name="T56" fmla="*/ 98 w 122"/>
                <a:gd name="T57" fmla="*/ 10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22" h="381">
                  <a:moveTo>
                    <a:pt x="0" y="0"/>
                  </a:moveTo>
                  <a:cubicBezTo>
                    <a:pt x="0" y="101"/>
                    <a:pt x="0" y="101"/>
                    <a:pt x="0" y="101"/>
                  </a:cubicBezTo>
                  <a:cubicBezTo>
                    <a:pt x="0" y="129"/>
                    <a:pt x="7" y="159"/>
                    <a:pt x="28" y="175"/>
                  </a:cubicBezTo>
                  <a:cubicBezTo>
                    <a:pt x="28" y="381"/>
                    <a:pt x="28" y="381"/>
                    <a:pt x="28" y="381"/>
                  </a:cubicBezTo>
                  <a:cubicBezTo>
                    <a:pt x="94" y="381"/>
                    <a:pt x="94" y="381"/>
                    <a:pt x="94" y="381"/>
                  </a:cubicBezTo>
                  <a:cubicBezTo>
                    <a:pt x="94" y="175"/>
                    <a:pt x="94" y="175"/>
                    <a:pt x="94" y="175"/>
                  </a:cubicBezTo>
                  <a:cubicBezTo>
                    <a:pt x="114" y="159"/>
                    <a:pt x="122" y="129"/>
                    <a:pt x="122" y="101"/>
                  </a:cubicBezTo>
                  <a:cubicBezTo>
                    <a:pt x="122" y="0"/>
                    <a:pt x="122" y="0"/>
                    <a:pt x="122" y="0"/>
                  </a:cubicBezTo>
                  <a:lnTo>
                    <a:pt x="0" y="0"/>
                  </a:lnTo>
                  <a:close/>
                  <a:moveTo>
                    <a:pt x="69" y="357"/>
                  </a:moveTo>
                  <a:cubicBezTo>
                    <a:pt x="52" y="357"/>
                    <a:pt x="52" y="357"/>
                    <a:pt x="52" y="357"/>
                  </a:cubicBezTo>
                  <a:cubicBezTo>
                    <a:pt x="52" y="185"/>
                    <a:pt x="52" y="185"/>
                    <a:pt x="52" y="185"/>
                  </a:cubicBezTo>
                  <a:cubicBezTo>
                    <a:pt x="55" y="186"/>
                    <a:pt x="58" y="186"/>
                    <a:pt x="61" y="186"/>
                  </a:cubicBezTo>
                  <a:cubicBezTo>
                    <a:pt x="64" y="186"/>
                    <a:pt x="67" y="186"/>
                    <a:pt x="69" y="185"/>
                  </a:cubicBezTo>
                  <a:lnTo>
                    <a:pt x="69" y="357"/>
                  </a:lnTo>
                  <a:close/>
                  <a:moveTo>
                    <a:pt x="98" y="101"/>
                  </a:moveTo>
                  <a:cubicBezTo>
                    <a:pt x="98" y="139"/>
                    <a:pt x="84" y="161"/>
                    <a:pt x="61" y="161"/>
                  </a:cubicBezTo>
                  <a:cubicBezTo>
                    <a:pt x="38" y="161"/>
                    <a:pt x="24" y="139"/>
                    <a:pt x="24" y="101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89"/>
                    <a:pt x="38" y="89"/>
                    <a:pt x="38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24"/>
                    <a:pt x="54" y="24"/>
                    <a:pt x="54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89"/>
                    <a:pt x="67" y="89"/>
                    <a:pt x="67" y="89"/>
                  </a:cubicBezTo>
                  <a:cubicBezTo>
                    <a:pt x="83" y="89"/>
                    <a:pt x="83" y="89"/>
                    <a:pt x="83" y="89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98" y="24"/>
                    <a:pt x="98" y="24"/>
                    <a:pt x="98" y="24"/>
                  </a:cubicBezTo>
                  <a:lnTo>
                    <a:pt x="98" y="1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114300" tIns="57150" rIns="114300" bIns="57150"/>
            <a:lstStyle/>
            <a:p>
              <a:pPr defTabSz="11430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250">
                <a:latin typeface="+mn-lt"/>
                <a:cs typeface="+mn-cs"/>
              </a:endParaRPr>
            </a:p>
          </p:txBody>
        </p:sp>
      </p:grpSp>
      <p:grpSp>
        <p:nvGrpSpPr>
          <p:cNvPr id="53" name="Group 22">
            <a:extLst>
              <a:ext uri="{FF2B5EF4-FFF2-40B4-BE49-F238E27FC236}"/>
            </a:extLst>
          </p:cNvPr>
          <p:cNvGrpSpPr>
            <a:grpSpLocks noChangeAspect="1"/>
          </p:cNvGrpSpPr>
          <p:nvPr/>
        </p:nvGrpSpPr>
        <p:grpSpPr>
          <a:xfrm>
            <a:off x="8426531" y="4394717"/>
            <a:ext cx="571500" cy="571500"/>
            <a:chOff x="6615113" y="619125"/>
            <a:chExt cx="298450" cy="298450"/>
          </a:xfrm>
          <a:solidFill>
            <a:schemeClr val="bg1"/>
          </a:solidFill>
        </p:grpSpPr>
        <p:sp>
          <p:nvSpPr>
            <p:cNvPr id="54" name="Freeform 167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6727825" y="676275"/>
              <a:ext cx="80963" cy="111125"/>
            </a:xfrm>
            <a:custGeom>
              <a:avLst/>
              <a:gdLst>
                <a:gd name="T0" fmla="*/ 26 w 53"/>
                <a:gd name="T1" fmla="*/ 72 h 72"/>
                <a:gd name="T2" fmla="*/ 44 w 53"/>
                <a:gd name="T3" fmla="*/ 62 h 72"/>
                <a:gd name="T4" fmla="*/ 53 w 53"/>
                <a:gd name="T5" fmla="*/ 29 h 72"/>
                <a:gd name="T6" fmla="*/ 26 w 53"/>
                <a:gd name="T7" fmla="*/ 0 h 72"/>
                <a:gd name="T8" fmla="*/ 0 w 53"/>
                <a:gd name="T9" fmla="*/ 29 h 72"/>
                <a:gd name="T10" fmla="*/ 9 w 53"/>
                <a:gd name="T11" fmla="*/ 62 h 72"/>
                <a:gd name="T12" fmla="*/ 26 w 53"/>
                <a:gd name="T13" fmla="*/ 72 h 72"/>
                <a:gd name="T14" fmla="*/ 26 w 53"/>
                <a:gd name="T15" fmla="*/ 8 h 72"/>
                <a:gd name="T16" fmla="*/ 44 w 53"/>
                <a:gd name="T17" fmla="*/ 29 h 72"/>
                <a:gd name="T18" fmla="*/ 38 w 53"/>
                <a:gd name="T19" fmla="*/ 56 h 72"/>
                <a:gd name="T20" fmla="*/ 26 w 53"/>
                <a:gd name="T21" fmla="*/ 63 h 72"/>
                <a:gd name="T22" fmla="*/ 15 w 53"/>
                <a:gd name="T23" fmla="*/ 56 h 72"/>
                <a:gd name="T24" fmla="*/ 8 w 53"/>
                <a:gd name="T25" fmla="*/ 29 h 72"/>
                <a:gd name="T26" fmla="*/ 26 w 53"/>
                <a:gd name="T27" fmla="*/ 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72">
                  <a:moveTo>
                    <a:pt x="26" y="72"/>
                  </a:moveTo>
                  <a:cubicBezTo>
                    <a:pt x="34" y="72"/>
                    <a:pt x="39" y="67"/>
                    <a:pt x="44" y="62"/>
                  </a:cubicBezTo>
                  <a:cubicBezTo>
                    <a:pt x="50" y="55"/>
                    <a:pt x="53" y="44"/>
                    <a:pt x="53" y="29"/>
                  </a:cubicBezTo>
                  <a:cubicBezTo>
                    <a:pt x="53" y="13"/>
                    <a:pt x="41" y="0"/>
                    <a:pt x="26" y="0"/>
                  </a:cubicBezTo>
                  <a:cubicBezTo>
                    <a:pt x="12" y="0"/>
                    <a:pt x="0" y="13"/>
                    <a:pt x="0" y="29"/>
                  </a:cubicBezTo>
                  <a:cubicBezTo>
                    <a:pt x="0" y="44"/>
                    <a:pt x="3" y="55"/>
                    <a:pt x="9" y="62"/>
                  </a:cubicBezTo>
                  <a:cubicBezTo>
                    <a:pt x="14" y="67"/>
                    <a:pt x="18" y="72"/>
                    <a:pt x="26" y="72"/>
                  </a:cubicBezTo>
                  <a:close/>
                  <a:moveTo>
                    <a:pt x="26" y="8"/>
                  </a:moveTo>
                  <a:cubicBezTo>
                    <a:pt x="36" y="8"/>
                    <a:pt x="44" y="18"/>
                    <a:pt x="44" y="29"/>
                  </a:cubicBezTo>
                  <a:cubicBezTo>
                    <a:pt x="44" y="42"/>
                    <a:pt x="42" y="52"/>
                    <a:pt x="38" y="56"/>
                  </a:cubicBezTo>
                  <a:cubicBezTo>
                    <a:pt x="33" y="62"/>
                    <a:pt x="30" y="63"/>
                    <a:pt x="26" y="63"/>
                  </a:cubicBezTo>
                  <a:cubicBezTo>
                    <a:pt x="22" y="63"/>
                    <a:pt x="20" y="62"/>
                    <a:pt x="15" y="56"/>
                  </a:cubicBezTo>
                  <a:cubicBezTo>
                    <a:pt x="11" y="52"/>
                    <a:pt x="8" y="42"/>
                    <a:pt x="8" y="29"/>
                  </a:cubicBezTo>
                  <a:cubicBezTo>
                    <a:pt x="8" y="18"/>
                    <a:pt x="16" y="8"/>
                    <a:pt x="2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114300" tIns="57150" rIns="114300" bIns="57150"/>
            <a:lstStyle/>
            <a:p>
              <a:pPr defTabSz="11430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250">
                <a:latin typeface="+mn-lt"/>
                <a:cs typeface="+mn-cs"/>
              </a:endParaRPr>
            </a:p>
          </p:txBody>
        </p:sp>
        <p:sp>
          <p:nvSpPr>
            <p:cNvPr id="55" name="Freeform 168">
              <a:extLst>
                <a:ext uri="{FF2B5EF4-FFF2-40B4-BE49-F238E27FC236}"/>
              </a:extLst>
            </p:cNvPr>
            <p:cNvSpPr>
              <a:spLocks noEditPoints="1"/>
            </p:cNvSpPr>
            <p:nvPr/>
          </p:nvSpPr>
          <p:spPr bwMode="auto">
            <a:xfrm>
              <a:off x="6615113" y="619125"/>
              <a:ext cx="298450" cy="298450"/>
            </a:xfrm>
            <a:custGeom>
              <a:avLst/>
              <a:gdLst>
                <a:gd name="T0" fmla="*/ 8 w 192"/>
                <a:gd name="T1" fmla="*/ 184 h 192"/>
                <a:gd name="T2" fmla="*/ 183 w 192"/>
                <a:gd name="T3" fmla="*/ 8 h 192"/>
                <a:gd name="T4" fmla="*/ 144 w 192"/>
                <a:gd name="T5" fmla="*/ 184 h 192"/>
                <a:gd name="T6" fmla="*/ 174 w 192"/>
                <a:gd name="T7" fmla="*/ 53 h 192"/>
                <a:gd name="T8" fmla="*/ 176 w 192"/>
                <a:gd name="T9" fmla="*/ 49 h 192"/>
                <a:gd name="T10" fmla="*/ 171 w 192"/>
                <a:gd name="T11" fmla="*/ 38 h 192"/>
                <a:gd name="T12" fmla="*/ 154 w 192"/>
                <a:gd name="T13" fmla="*/ 34 h 192"/>
                <a:gd name="T14" fmla="*/ 149 w 192"/>
                <a:gd name="T15" fmla="*/ 42 h 192"/>
                <a:gd name="T16" fmla="*/ 120 w 192"/>
                <a:gd name="T17" fmla="*/ 113 h 192"/>
                <a:gd name="T18" fmla="*/ 47 w 192"/>
                <a:gd name="T19" fmla="*/ 41 h 192"/>
                <a:gd name="T20" fmla="*/ 36 w 192"/>
                <a:gd name="T21" fmla="*/ 34 h 192"/>
                <a:gd name="T22" fmla="*/ 20 w 192"/>
                <a:gd name="T23" fmla="*/ 42 h 192"/>
                <a:gd name="T24" fmla="*/ 21 w 192"/>
                <a:gd name="T25" fmla="*/ 52 h 192"/>
                <a:gd name="T26" fmla="*/ 21 w 192"/>
                <a:gd name="T27" fmla="*/ 52 h 192"/>
                <a:gd name="T28" fmla="*/ 58 w 192"/>
                <a:gd name="T29" fmla="*/ 192 h 192"/>
                <a:gd name="T30" fmla="*/ 28 w 192"/>
                <a:gd name="T31" fmla="*/ 49 h 192"/>
                <a:gd name="T32" fmla="*/ 27 w 192"/>
                <a:gd name="T33" fmla="*/ 45 h 192"/>
                <a:gd name="T34" fmla="*/ 38 w 192"/>
                <a:gd name="T35" fmla="*/ 41 h 192"/>
                <a:gd name="T36" fmla="*/ 40 w 192"/>
                <a:gd name="T37" fmla="*/ 44 h 192"/>
                <a:gd name="T38" fmla="*/ 71 w 192"/>
                <a:gd name="T39" fmla="*/ 117 h 192"/>
                <a:gd name="T40" fmla="*/ 71 w 192"/>
                <a:gd name="T41" fmla="*/ 117 h 192"/>
                <a:gd name="T42" fmla="*/ 77 w 192"/>
                <a:gd name="T43" fmla="*/ 121 h 192"/>
                <a:gd name="T44" fmla="*/ 87 w 192"/>
                <a:gd name="T45" fmla="*/ 149 h 192"/>
                <a:gd name="T46" fmla="*/ 110 w 192"/>
                <a:gd name="T47" fmla="*/ 149 h 192"/>
                <a:gd name="T48" fmla="*/ 119 w 192"/>
                <a:gd name="T49" fmla="*/ 122 h 192"/>
                <a:gd name="T50" fmla="*/ 126 w 192"/>
                <a:gd name="T51" fmla="*/ 117 h 192"/>
                <a:gd name="T52" fmla="*/ 155 w 192"/>
                <a:gd name="T53" fmla="*/ 46 h 192"/>
                <a:gd name="T54" fmla="*/ 156 w 192"/>
                <a:gd name="T55" fmla="*/ 45 h 192"/>
                <a:gd name="T56" fmla="*/ 158 w 192"/>
                <a:gd name="T57" fmla="*/ 41 h 192"/>
                <a:gd name="T58" fmla="*/ 169 w 192"/>
                <a:gd name="T59" fmla="*/ 45 h 192"/>
                <a:gd name="T60" fmla="*/ 168 w 192"/>
                <a:gd name="T61" fmla="*/ 49 h 192"/>
                <a:gd name="T62" fmla="*/ 135 w 192"/>
                <a:gd name="T63" fmla="*/ 127 h 192"/>
                <a:gd name="T64" fmla="*/ 144 w 192"/>
                <a:gd name="T65" fmla="*/ 192 h 192"/>
                <a:gd name="T66" fmla="*/ 192 w 192"/>
                <a:gd name="T67" fmla="*/ 0 h 192"/>
                <a:gd name="T68" fmla="*/ 0 w 192"/>
                <a:gd name="T69" fmla="*/ 192 h 192"/>
                <a:gd name="T70" fmla="*/ 98 w 192"/>
                <a:gd name="T71" fmla="*/ 153 h 192"/>
                <a:gd name="T72" fmla="*/ 98 w 192"/>
                <a:gd name="T73" fmla="*/ 145 h 192"/>
                <a:gd name="T74" fmla="*/ 98 w 192"/>
                <a:gd name="T75" fmla="*/ 153 h 192"/>
                <a:gd name="T76" fmla="*/ 91 w 192"/>
                <a:gd name="T77" fmla="*/ 126 h 192"/>
                <a:gd name="T78" fmla="*/ 106 w 192"/>
                <a:gd name="T79" fmla="*/ 126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2" h="192">
                  <a:moveTo>
                    <a:pt x="50" y="184"/>
                  </a:moveTo>
                  <a:cubicBezTo>
                    <a:pt x="8" y="184"/>
                    <a:pt x="8" y="184"/>
                    <a:pt x="8" y="18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183" y="8"/>
                    <a:pt x="183" y="8"/>
                    <a:pt x="183" y="8"/>
                  </a:cubicBezTo>
                  <a:cubicBezTo>
                    <a:pt x="183" y="184"/>
                    <a:pt x="183" y="184"/>
                    <a:pt x="183" y="184"/>
                  </a:cubicBezTo>
                  <a:cubicBezTo>
                    <a:pt x="144" y="184"/>
                    <a:pt x="144" y="184"/>
                    <a:pt x="144" y="184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74" y="53"/>
                    <a:pt x="174" y="53"/>
                    <a:pt x="174" y="53"/>
                  </a:cubicBezTo>
                  <a:cubicBezTo>
                    <a:pt x="174" y="53"/>
                    <a:pt x="175" y="53"/>
                    <a:pt x="175" y="52"/>
                  </a:cubicBezTo>
                  <a:cubicBezTo>
                    <a:pt x="176" y="49"/>
                    <a:pt x="176" y="49"/>
                    <a:pt x="176" y="49"/>
                  </a:cubicBezTo>
                  <a:cubicBezTo>
                    <a:pt x="177" y="47"/>
                    <a:pt x="177" y="44"/>
                    <a:pt x="176" y="42"/>
                  </a:cubicBezTo>
                  <a:cubicBezTo>
                    <a:pt x="175" y="40"/>
                    <a:pt x="173" y="39"/>
                    <a:pt x="171" y="38"/>
                  </a:cubicBezTo>
                  <a:cubicBezTo>
                    <a:pt x="161" y="34"/>
                    <a:pt x="161" y="34"/>
                    <a:pt x="161" y="34"/>
                  </a:cubicBezTo>
                  <a:cubicBezTo>
                    <a:pt x="159" y="33"/>
                    <a:pt x="156" y="33"/>
                    <a:pt x="154" y="34"/>
                  </a:cubicBezTo>
                  <a:cubicBezTo>
                    <a:pt x="152" y="35"/>
                    <a:pt x="151" y="37"/>
                    <a:pt x="150" y="39"/>
                  </a:cubicBezTo>
                  <a:cubicBezTo>
                    <a:pt x="149" y="42"/>
                    <a:pt x="149" y="42"/>
                    <a:pt x="149" y="42"/>
                  </a:cubicBezTo>
                  <a:cubicBezTo>
                    <a:pt x="149" y="42"/>
                    <a:pt x="149" y="43"/>
                    <a:pt x="148" y="43"/>
                  </a:cubicBezTo>
                  <a:cubicBezTo>
                    <a:pt x="120" y="113"/>
                    <a:pt x="120" y="113"/>
                    <a:pt x="120" y="113"/>
                  </a:cubicBezTo>
                  <a:cubicBezTo>
                    <a:pt x="101" y="126"/>
                    <a:pt x="82" y="115"/>
                    <a:pt x="77" y="113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5" y="35"/>
                    <a:pt x="40" y="32"/>
                    <a:pt x="36" y="34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3" y="38"/>
                    <a:pt x="21" y="40"/>
                    <a:pt x="20" y="42"/>
                  </a:cubicBezTo>
                  <a:cubicBezTo>
                    <a:pt x="19" y="44"/>
                    <a:pt x="19" y="46"/>
                    <a:pt x="20" y="48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21" y="52"/>
                    <a:pt x="21" y="52"/>
                    <a:pt x="21" y="52"/>
                  </a:cubicBezTo>
                  <a:cubicBezTo>
                    <a:pt x="49" y="127"/>
                    <a:pt x="49" y="127"/>
                    <a:pt x="49" y="127"/>
                  </a:cubicBezTo>
                  <a:moveTo>
                    <a:pt x="58" y="192"/>
                  </a:moveTo>
                  <a:cubicBezTo>
                    <a:pt x="57" y="126"/>
                    <a:pt x="57" y="126"/>
                    <a:pt x="57" y="126"/>
                  </a:cubicBezTo>
                  <a:cubicBezTo>
                    <a:pt x="28" y="49"/>
                    <a:pt x="28" y="49"/>
                    <a:pt x="28" y="49"/>
                  </a:cubicBezTo>
                  <a:cubicBezTo>
                    <a:pt x="27" y="46"/>
                    <a:pt x="27" y="46"/>
                    <a:pt x="27" y="46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8" y="45"/>
                  </a:cubicBezTo>
                  <a:cubicBezTo>
                    <a:pt x="38" y="41"/>
                    <a:pt x="38" y="41"/>
                    <a:pt x="38" y="41"/>
                  </a:cubicBezTo>
                  <a:cubicBezTo>
                    <a:pt x="39" y="41"/>
                    <a:pt x="39" y="41"/>
                    <a:pt x="39" y="41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71" y="117"/>
                    <a:pt x="71" y="117"/>
                    <a:pt x="71" y="117"/>
                  </a:cubicBezTo>
                  <a:cubicBezTo>
                    <a:pt x="71" y="117"/>
                    <a:pt x="71" y="117"/>
                    <a:pt x="71" y="117"/>
                  </a:cubicBezTo>
                  <a:cubicBezTo>
                    <a:pt x="71" y="117"/>
                    <a:pt x="71" y="117"/>
                    <a:pt x="71" y="117"/>
                  </a:cubicBezTo>
                  <a:cubicBezTo>
                    <a:pt x="71" y="117"/>
                    <a:pt x="71" y="117"/>
                    <a:pt x="71" y="117"/>
                  </a:cubicBezTo>
                  <a:cubicBezTo>
                    <a:pt x="71" y="117"/>
                    <a:pt x="71" y="118"/>
                    <a:pt x="72" y="119"/>
                  </a:cubicBezTo>
                  <a:cubicBezTo>
                    <a:pt x="72" y="119"/>
                    <a:pt x="74" y="120"/>
                    <a:pt x="77" y="121"/>
                  </a:cubicBezTo>
                  <a:cubicBezTo>
                    <a:pt x="89" y="142"/>
                    <a:pt x="89" y="142"/>
                    <a:pt x="89" y="142"/>
                  </a:cubicBezTo>
                  <a:cubicBezTo>
                    <a:pt x="87" y="145"/>
                    <a:pt x="87" y="147"/>
                    <a:pt x="87" y="149"/>
                  </a:cubicBezTo>
                  <a:cubicBezTo>
                    <a:pt x="87" y="155"/>
                    <a:pt x="92" y="161"/>
                    <a:pt x="98" y="161"/>
                  </a:cubicBezTo>
                  <a:cubicBezTo>
                    <a:pt x="105" y="161"/>
                    <a:pt x="110" y="155"/>
                    <a:pt x="110" y="149"/>
                  </a:cubicBezTo>
                  <a:cubicBezTo>
                    <a:pt x="110" y="147"/>
                    <a:pt x="109" y="144"/>
                    <a:pt x="108" y="142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1" y="121"/>
                    <a:pt x="123" y="120"/>
                    <a:pt x="125" y="118"/>
                  </a:cubicBezTo>
                  <a:cubicBezTo>
                    <a:pt x="125" y="118"/>
                    <a:pt x="126" y="117"/>
                    <a:pt x="126" y="117"/>
                  </a:cubicBezTo>
                  <a:cubicBezTo>
                    <a:pt x="126" y="117"/>
                    <a:pt x="126" y="117"/>
                    <a:pt x="126" y="117"/>
                  </a:cubicBezTo>
                  <a:cubicBezTo>
                    <a:pt x="155" y="46"/>
                    <a:pt x="155" y="46"/>
                    <a:pt x="155" y="46"/>
                  </a:cubicBezTo>
                  <a:cubicBezTo>
                    <a:pt x="156" y="45"/>
                    <a:pt x="156" y="45"/>
                    <a:pt x="156" y="45"/>
                  </a:cubicBezTo>
                  <a:cubicBezTo>
                    <a:pt x="156" y="45"/>
                    <a:pt x="156" y="45"/>
                    <a:pt x="156" y="45"/>
                  </a:cubicBezTo>
                  <a:cubicBezTo>
                    <a:pt x="157" y="41"/>
                    <a:pt x="157" y="41"/>
                    <a:pt x="157" y="41"/>
                  </a:cubicBezTo>
                  <a:cubicBezTo>
                    <a:pt x="157" y="41"/>
                    <a:pt x="158" y="41"/>
                    <a:pt x="158" y="41"/>
                  </a:cubicBezTo>
                  <a:cubicBezTo>
                    <a:pt x="169" y="45"/>
                    <a:pt x="169" y="45"/>
                    <a:pt x="169" y="45"/>
                  </a:cubicBezTo>
                  <a:cubicBezTo>
                    <a:pt x="169" y="45"/>
                    <a:pt x="169" y="45"/>
                    <a:pt x="169" y="45"/>
                  </a:cubicBezTo>
                  <a:cubicBezTo>
                    <a:pt x="169" y="46"/>
                    <a:pt x="169" y="46"/>
                    <a:pt x="169" y="46"/>
                  </a:cubicBezTo>
                  <a:cubicBezTo>
                    <a:pt x="168" y="49"/>
                    <a:pt x="168" y="49"/>
                    <a:pt x="168" y="49"/>
                  </a:cubicBezTo>
                  <a:cubicBezTo>
                    <a:pt x="168" y="50"/>
                    <a:pt x="168" y="50"/>
                    <a:pt x="168" y="50"/>
                  </a:cubicBezTo>
                  <a:cubicBezTo>
                    <a:pt x="135" y="127"/>
                    <a:pt x="135" y="127"/>
                    <a:pt x="135" y="127"/>
                  </a:cubicBezTo>
                  <a:cubicBezTo>
                    <a:pt x="136" y="192"/>
                    <a:pt x="136" y="192"/>
                    <a:pt x="136" y="192"/>
                  </a:cubicBezTo>
                  <a:cubicBezTo>
                    <a:pt x="144" y="192"/>
                    <a:pt x="144" y="192"/>
                    <a:pt x="144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2"/>
                    <a:pt x="0" y="192"/>
                    <a:pt x="0" y="192"/>
                  </a:cubicBezTo>
                  <a:lnTo>
                    <a:pt x="58" y="192"/>
                  </a:lnTo>
                  <a:close/>
                  <a:moveTo>
                    <a:pt x="98" y="153"/>
                  </a:moveTo>
                  <a:cubicBezTo>
                    <a:pt x="96" y="153"/>
                    <a:pt x="94" y="151"/>
                    <a:pt x="94" y="149"/>
                  </a:cubicBezTo>
                  <a:cubicBezTo>
                    <a:pt x="94" y="147"/>
                    <a:pt x="96" y="145"/>
                    <a:pt x="98" y="145"/>
                  </a:cubicBezTo>
                  <a:cubicBezTo>
                    <a:pt x="101" y="145"/>
                    <a:pt x="103" y="147"/>
                    <a:pt x="103" y="149"/>
                  </a:cubicBezTo>
                  <a:cubicBezTo>
                    <a:pt x="103" y="151"/>
                    <a:pt x="101" y="153"/>
                    <a:pt x="98" y="153"/>
                  </a:cubicBezTo>
                  <a:close/>
                  <a:moveTo>
                    <a:pt x="99" y="139"/>
                  </a:moveTo>
                  <a:cubicBezTo>
                    <a:pt x="91" y="126"/>
                    <a:pt x="91" y="126"/>
                    <a:pt x="91" y="126"/>
                  </a:cubicBezTo>
                  <a:cubicBezTo>
                    <a:pt x="94" y="126"/>
                    <a:pt x="97" y="127"/>
                    <a:pt x="100" y="127"/>
                  </a:cubicBezTo>
                  <a:cubicBezTo>
                    <a:pt x="102" y="127"/>
                    <a:pt x="104" y="127"/>
                    <a:pt x="106" y="126"/>
                  </a:cubicBezTo>
                  <a:lnTo>
                    <a:pt x="99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/>
            </a:extLst>
          </p:spPr>
          <p:txBody>
            <a:bodyPr lIns="114300" tIns="57150" rIns="114300" bIns="57150"/>
            <a:lstStyle/>
            <a:p>
              <a:pPr defTabSz="11430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250">
                <a:latin typeface="+mn-lt"/>
                <a:cs typeface="+mn-cs"/>
              </a:endParaRPr>
            </a:p>
          </p:txBody>
        </p:sp>
      </p:grpSp>
      <p:sp>
        <p:nvSpPr>
          <p:cNvPr id="56" name="Rectangle 31">
            <a:extLst>
              <a:ext uri="{FF2B5EF4-FFF2-40B4-BE49-F238E27FC236}"/>
            </a:extLst>
          </p:cNvPr>
          <p:cNvSpPr/>
          <p:nvPr/>
        </p:nvSpPr>
        <p:spPr>
          <a:xfrm>
            <a:off x="8662988" y="5102225"/>
            <a:ext cx="2925762" cy="3397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ts val="1200"/>
              <a:buFont typeface="Wingdings" panose="05000000000000000000" pitchFamily="2" charset="2"/>
              <a:buChar char="q"/>
              <a:defRPr/>
            </a:pPr>
            <a:r>
              <a:rPr lang="el-GR" sz="1600" kern="0" dirty="0">
                <a:solidFill>
                  <a:schemeClr val="bg1"/>
                </a:solidFill>
                <a:latin typeface="+mn-lt"/>
                <a:cs typeface="Arial"/>
              </a:rPr>
              <a:t>Υπηρεσίες πίστας καρτ.</a:t>
            </a:r>
            <a:endParaRPr lang="el-GR" sz="1600" kern="0" dirty="0">
              <a:solidFill>
                <a:schemeClr val="bg1"/>
              </a:solidFill>
              <a:latin typeface="+mn-lt"/>
              <a:cs typeface="Arial"/>
            </a:endParaRPr>
          </a:p>
        </p:txBody>
      </p:sp>
      <p:sp>
        <p:nvSpPr>
          <p:cNvPr id="287954" name="Rectangle 29"/>
          <p:cNvSpPr>
            <a:spLocks noChangeArrowheads="1"/>
          </p:cNvSpPr>
          <p:nvPr/>
        </p:nvSpPr>
        <p:spPr bwMode="auto">
          <a:xfrm>
            <a:off x="9104313" y="4457700"/>
            <a:ext cx="2386012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2000" b="1">
                <a:solidFill>
                  <a:schemeClr val="bg1"/>
                </a:solidFill>
                <a:latin typeface="Calibri" pitchFamily="34" charset="0"/>
              </a:rPr>
              <a:t>Ατομικά αθλήματα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3935" name="Object 11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33935" name="think-cell Slide" r:id="rId5" imgW="360" imgH="360" progId="">
              <p:embed/>
            </p:oleObj>
          </a:graphicData>
        </a:graphic>
      </p:graphicFrame>
      <p:grpSp>
        <p:nvGrpSpPr>
          <p:cNvPr id="333936" name="24 - Ομάδα"/>
          <p:cNvGrpSpPr>
            <a:grpSpLocks/>
          </p:cNvGrpSpPr>
          <p:nvPr/>
        </p:nvGrpSpPr>
        <p:grpSpPr bwMode="auto">
          <a:xfrm>
            <a:off x="798513" y="2116138"/>
            <a:ext cx="10285412" cy="1644650"/>
            <a:chOff x="577050" y="2713815"/>
            <a:chExt cx="10835907" cy="1732411"/>
          </a:xfrm>
        </p:grpSpPr>
        <p:sp>
          <p:nvSpPr>
            <p:cNvPr id="37" name="Google Shape;1808;p278">
              <a:extLst>
                <a:ext uri="{FF2B5EF4-FFF2-40B4-BE49-F238E27FC236}"/>
              </a:extLst>
            </p:cNvPr>
            <p:cNvSpPr txBox="1"/>
            <p:nvPr/>
          </p:nvSpPr>
          <p:spPr>
            <a:xfrm>
              <a:off x="577050" y="2713815"/>
              <a:ext cx="821180" cy="831089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lIns="36000" tIns="80669" rIns="36000" bIns="80669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defRPr/>
              </a:pPr>
              <a:r>
                <a:rPr lang="en-US" sz="1588" b="1" kern="0" dirty="0">
                  <a:solidFill>
                    <a:schemeClr val="bg1"/>
                  </a:solidFill>
                  <a:latin typeface="+mn-lt"/>
                  <a:ea typeface="Helvetica Neue"/>
                  <a:cs typeface="Helvetica Neue"/>
                  <a:sym typeface="Helvetica Neue"/>
                </a:rPr>
                <a:t>91.04</a:t>
              </a:r>
              <a:endParaRPr sz="1588" b="1" kern="0" dirty="0">
                <a:solidFill>
                  <a:schemeClr val="bg1"/>
                </a:solidFill>
                <a:latin typeface="+mn-lt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41" name="Rectangle 40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1490216" y="2713815"/>
              <a:ext cx="4316634" cy="831089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lIns="80669" tIns="40324" rIns="80669" bIns="40324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defRPr/>
              </a:pPr>
              <a:r>
                <a:rPr lang="el-GR" sz="1400" kern="0" dirty="0">
                  <a:latin typeface="+mn-lt"/>
                  <a:cs typeface="Arial"/>
                </a:rPr>
                <a:t>Δραστηριότητες βοτανικών και ζωολογικών κήπων και φυσικών βιοτόπων. </a:t>
              </a:r>
              <a:endParaRPr lang="el-GR" sz="1400" kern="0" dirty="0">
                <a:latin typeface="+mn-lt"/>
                <a:cs typeface="Arial"/>
              </a:endParaRPr>
            </a:p>
          </p:txBody>
        </p:sp>
        <p:sp>
          <p:nvSpPr>
            <p:cNvPr id="48" name="Google Shape;1808;p278">
              <a:extLst>
                <a:ext uri="{FF2B5EF4-FFF2-40B4-BE49-F238E27FC236}"/>
              </a:extLst>
            </p:cNvPr>
            <p:cNvSpPr txBox="1"/>
            <p:nvPr/>
          </p:nvSpPr>
          <p:spPr>
            <a:xfrm>
              <a:off x="6173121" y="3615136"/>
              <a:ext cx="819508" cy="83109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lIns="36000" tIns="80669" rIns="36000" bIns="80669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defRPr/>
              </a:pPr>
              <a:r>
                <a:rPr lang="el-GR" sz="1588" b="1" kern="0" dirty="0">
                  <a:solidFill>
                    <a:schemeClr val="bg1"/>
                  </a:solidFill>
                  <a:latin typeface="+mn-lt"/>
                  <a:ea typeface="Helvetica Neue"/>
                  <a:cs typeface="Helvetica Neue"/>
                  <a:sym typeface="Helvetica Neue"/>
                </a:rPr>
                <a:t>(96.09. 19.16)</a:t>
              </a:r>
              <a:endParaRPr lang="el-GR" sz="1588" b="1" kern="0" dirty="0">
                <a:solidFill>
                  <a:schemeClr val="bg1"/>
                </a:solidFill>
                <a:latin typeface="+mn-lt"/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53" name="Rectangle 52">
              <a:extLst>
                <a:ext uri="{FF2B5EF4-FFF2-40B4-BE49-F238E27FC236}"/>
              </a:extLst>
            </p:cNvPr>
            <p:cNvSpPr/>
            <p:nvPr/>
          </p:nvSpPr>
          <p:spPr>
            <a:xfrm>
              <a:off x="7096323" y="3615136"/>
              <a:ext cx="4316634" cy="83109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lIns="80669" tIns="40324" rIns="80669" bIns="40324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defRPr/>
              </a:pPr>
              <a:r>
                <a:rPr lang="el-GR" sz="1400" kern="0" dirty="0">
                  <a:latin typeface="+mn-lt"/>
                  <a:cs typeface="Arial"/>
                </a:rPr>
                <a:t>Υπηρεσίες στολισμού εκκλησιών, αιθουσών κλπ (για γάμους, βαπτίσεις, κηδείες και άλλες εκδηλώσεις).</a:t>
              </a:r>
              <a:endParaRPr lang="en-GB" sz="1400" kern="0" dirty="0">
                <a:latin typeface="+mn-lt"/>
                <a:cs typeface="Arial"/>
              </a:endParaRPr>
            </a:p>
          </p:txBody>
        </p:sp>
      </p:grpSp>
      <p:sp>
        <p:nvSpPr>
          <p:cNvPr id="29" name="Rectangle: Diagonal Corners Snipped 28">
            <a:extLst>
              <a:ext uri="{FF2B5EF4-FFF2-40B4-BE49-F238E27FC236}"/>
            </a:extLst>
          </p:cNvPr>
          <p:cNvSpPr/>
          <p:nvPr/>
        </p:nvSpPr>
        <p:spPr>
          <a:xfrm>
            <a:off x="709613" y="309563"/>
            <a:ext cx="10374312" cy="825500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3</a:t>
            </a:r>
            <a:r>
              <a:rPr lang="en-GB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o 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Στάδιο – 1</a:t>
            </a:r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8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 Μαΐου</a:t>
            </a:r>
          </a:p>
        </p:txBody>
      </p:sp>
      <p:sp>
        <p:nvSpPr>
          <p:cNvPr id="2" name="Slide Number Placeholder 1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028C72F-3E12-4B6F-BBC8-CBE3E33F04E4}" type="slidenum">
              <a:rPr lang="en-US"/>
              <a:pPr>
                <a:defRPr/>
              </a:pPr>
              <a:t>4</a:t>
            </a:fld>
            <a:endParaRPr lang="en-US"/>
          </a:p>
        </p:txBody>
      </p:sp>
      <p:sp>
        <p:nvSpPr>
          <p:cNvPr id="20" name="Google Shape;1808;p278">
            <a:extLst>
              <a:ext uri="{FF2B5EF4-FFF2-40B4-BE49-F238E27FC236}"/>
            </a:extLst>
          </p:cNvPr>
          <p:cNvSpPr txBox="1"/>
          <p:nvPr/>
        </p:nvSpPr>
        <p:spPr>
          <a:xfrm>
            <a:off x="806450" y="1293813"/>
            <a:ext cx="779463" cy="788987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lIns="36000" tIns="80669" rIns="36000" bIns="8066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/>
            </a:pPr>
            <a:r>
              <a:rPr lang="el-GR" sz="1588" b="1" kern="0" dirty="0">
                <a:solidFill>
                  <a:schemeClr val="bg1"/>
                </a:solidFill>
                <a:latin typeface="+mn-lt"/>
                <a:ea typeface="Helvetica Neue"/>
                <a:cs typeface="Helvetica Neue"/>
                <a:sym typeface="Helvetica Neue"/>
              </a:rPr>
              <a:t>47.19</a:t>
            </a:r>
            <a:endParaRPr sz="1588" b="1" kern="0" dirty="0">
              <a:solidFill>
                <a:schemeClr val="bg1"/>
              </a:solidFill>
              <a:latin typeface="+mn-lt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1" name="Rectangle 40">
            <a:extLst>
              <a:ext uri="{FF2B5EF4-FFF2-40B4-BE49-F238E27FC236}"/>
            </a:extLst>
          </p:cNvPr>
          <p:cNvSpPr/>
          <p:nvPr/>
        </p:nvSpPr>
        <p:spPr>
          <a:xfrm>
            <a:off x="1673225" y="1293813"/>
            <a:ext cx="4097338" cy="78898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lIns="80669" tIns="40324" rIns="80669" bIns="40324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defRPr/>
            </a:pPr>
            <a:r>
              <a:rPr lang="el-GR" sz="1400" kern="0" dirty="0">
                <a:latin typeface="+mn-lt"/>
                <a:cs typeface="Arial"/>
              </a:rPr>
              <a:t>Άλλο λιανικό εμπόριο σε μη εξειδικευμένα καταστήματα.</a:t>
            </a:r>
            <a:endParaRPr lang="el-GR" sz="1400" kern="0" dirty="0">
              <a:latin typeface="+mn-lt"/>
              <a:cs typeface="Arial"/>
            </a:endParaRPr>
          </a:p>
        </p:txBody>
      </p:sp>
      <p:sp>
        <p:nvSpPr>
          <p:cNvPr id="22" name="Google Shape;1808;p278">
            <a:extLst>
              <a:ext uri="{FF2B5EF4-FFF2-40B4-BE49-F238E27FC236}"/>
            </a:extLst>
          </p:cNvPr>
          <p:cNvSpPr txBox="1"/>
          <p:nvPr/>
        </p:nvSpPr>
        <p:spPr>
          <a:xfrm>
            <a:off x="6100763" y="2124075"/>
            <a:ext cx="779462" cy="78740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lIns="36000" tIns="80669" rIns="36000" bIns="8066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/>
            </a:pPr>
            <a:r>
              <a:rPr lang="en-US" sz="1588" b="1" kern="0" dirty="0">
                <a:solidFill>
                  <a:schemeClr val="bg1"/>
                </a:solidFill>
                <a:latin typeface="+mn-lt"/>
                <a:ea typeface="Helvetica Neue"/>
                <a:cs typeface="Helvetica Neue"/>
                <a:sym typeface="Helvetica Neue"/>
              </a:rPr>
              <a:t>(96.04.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/>
            </a:pPr>
            <a:r>
              <a:rPr lang="en-US" sz="1588" b="1" kern="0" dirty="0">
                <a:solidFill>
                  <a:schemeClr val="bg1"/>
                </a:solidFill>
                <a:latin typeface="+mn-lt"/>
                <a:ea typeface="Helvetica Neue"/>
                <a:cs typeface="Helvetica Neue"/>
                <a:sym typeface="Helvetica Neue"/>
              </a:rPr>
              <a:t>10.06)</a:t>
            </a:r>
            <a:endParaRPr sz="1588" b="1" kern="0" dirty="0">
              <a:solidFill>
                <a:schemeClr val="bg1"/>
              </a:solidFill>
              <a:latin typeface="+mn-lt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3" name="Rectangle 50">
            <a:extLst>
              <a:ext uri="{FF2B5EF4-FFF2-40B4-BE49-F238E27FC236}"/>
            </a:extLst>
          </p:cNvPr>
          <p:cNvSpPr/>
          <p:nvPr/>
        </p:nvSpPr>
        <p:spPr>
          <a:xfrm>
            <a:off x="6967538" y="2143125"/>
            <a:ext cx="4098925" cy="762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lIns="80669" tIns="40324" rIns="80669" bIns="40324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defRPr/>
            </a:pPr>
            <a:endParaRPr lang="en-US" sz="1400" kern="0" dirty="0">
              <a:latin typeface="+mn-lt"/>
              <a:cs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defRPr/>
            </a:pPr>
            <a:r>
              <a:rPr lang="el-GR" sz="1400" kern="0" dirty="0">
                <a:latin typeface="+mn-lt"/>
                <a:cs typeface="Arial"/>
              </a:rPr>
              <a:t>Υπηρεσίες προσωπικής υγιεινής και φροντίδας σώματος (αποτρίχωσης, θεραπείας με υπεριώδεις και υπέρυθρες ακτίνες).</a:t>
            </a:r>
            <a:endParaRPr lang="en-GB" sz="1400" kern="0" dirty="0">
              <a:latin typeface="+mn-lt"/>
              <a:cs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defRPr/>
            </a:pPr>
            <a:endParaRPr lang="el-GR" sz="1400" kern="0" dirty="0">
              <a:latin typeface="+mn-lt"/>
              <a:cs typeface="Arial"/>
            </a:endParaRPr>
          </a:p>
        </p:txBody>
      </p:sp>
      <p:sp>
        <p:nvSpPr>
          <p:cNvPr id="26" name="Google Shape;1808;p278">
            <a:extLst>
              <a:ext uri="{FF2B5EF4-FFF2-40B4-BE49-F238E27FC236}"/>
            </a:extLst>
          </p:cNvPr>
          <p:cNvSpPr txBox="1"/>
          <p:nvPr/>
        </p:nvSpPr>
        <p:spPr>
          <a:xfrm>
            <a:off x="784225" y="2971800"/>
            <a:ext cx="779463" cy="788988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lIns="36000" tIns="80669" rIns="36000" bIns="8066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/>
            </a:pPr>
            <a:r>
              <a:rPr lang="en-US" sz="1588" b="1" kern="0" dirty="0">
                <a:solidFill>
                  <a:schemeClr val="bg1"/>
                </a:solidFill>
                <a:latin typeface="+mn-lt"/>
                <a:ea typeface="Helvetica Neue"/>
                <a:cs typeface="Helvetica Neue"/>
                <a:sym typeface="Helvetica Neue"/>
              </a:rPr>
              <a:t>(93.19. 13.03)</a:t>
            </a:r>
            <a:endParaRPr sz="1588" b="1" kern="0" dirty="0">
              <a:solidFill>
                <a:schemeClr val="bg1"/>
              </a:solidFill>
              <a:latin typeface="+mn-lt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7" name="Rectangle 48">
            <a:extLst>
              <a:ext uri="{FF2B5EF4-FFF2-40B4-BE49-F238E27FC236}"/>
            </a:extLst>
          </p:cNvPr>
          <p:cNvSpPr/>
          <p:nvPr/>
        </p:nvSpPr>
        <p:spPr>
          <a:xfrm>
            <a:off x="1651000" y="2984500"/>
            <a:ext cx="4098925" cy="7874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lIns="80669" tIns="40324" rIns="80669" bIns="40324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defRPr/>
            </a:pPr>
            <a:r>
              <a:rPr lang="el-GR" sz="1400" kern="0" dirty="0">
                <a:latin typeface="+mn-lt"/>
                <a:cs typeface="Arial"/>
              </a:rPr>
              <a:t>Υπηρεσίες που σχετίζονται με την εκπαίδευση κατοικίδιων ζώων συντροφιάς, για κυνήγι και σχετικές δραστηριότητες.</a:t>
            </a:r>
            <a:endParaRPr lang="en-GB" sz="1400" kern="0" dirty="0">
              <a:latin typeface="+mn-lt"/>
              <a:cs typeface="Arial"/>
            </a:endParaRPr>
          </a:p>
        </p:txBody>
      </p:sp>
      <p:sp>
        <p:nvSpPr>
          <p:cNvPr id="24" name="Google Shape;1808;p278">
            <a:extLst>
              <a:ext uri="{FF2B5EF4-FFF2-40B4-BE49-F238E27FC236}"/>
            </a:extLst>
          </p:cNvPr>
          <p:cNvSpPr txBox="1"/>
          <p:nvPr/>
        </p:nvSpPr>
        <p:spPr>
          <a:xfrm>
            <a:off x="6100763" y="1292225"/>
            <a:ext cx="779462" cy="788988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lIns="36000" tIns="80669" rIns="36000" bIns="8066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/>
            </a:pPr>
            <a:r>
              <a:rPr lang="en-US" sz="1588" b="1" kern="0" dirty="0">
                <a:solidFill>
                  <a:schemeClr val="bg1"/>
                </a:solidFill>
                <a:latin typeface="+mn-lt"/>
                <a:ea typeface="Helvetica Neue"/>
                <a:cs typeface="Helvetica Neue"/>
                <a:sym typeface="Helvetica Neue"/>
              </a:rPr>
              <a:t>(96.04. 10.02)</a:t>
            </a:r>
            <a:endParaRPr sz="1588" b="1" kern="0" dirty="0">
              <a:solidFill>
                <a:schemeClr val="bg1"/>
              </a:solidFill>
              <a:latin typeface="+mn-lt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5" name="Rectangle 48">
            <a:extLst>
              <a:ext uri="{FF2B5EF4-FFF2-40B4-BE49-F238E27FC236}"/>
            </a:extLst>
          </p:cNvPr>
          <p:cNvSpPr/>
          <p:nvPr/>
        </p:nvSpPr>
        <p:spPr>
          <a:xfrm>
            <a:off x="6967538" y="1304925"/>
            <a:ext cx="4098925" cy="7874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lIns="80669" tIns="40324" rIns="80669" bIns="40324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defRPr/>
            </a:pPr>
            <a:endParaRPr lang="en-GB" sz="1400" kern="0" dirty="0">
              <a:latin typeface="+mn-lt"/>
              <a:cs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defRPr/>
            </a:pPr>
            <a:r>
              <a:rPr lang="el-GR" sz="1400" kern="0" dirty="0">
                <a:latin typeface="+mn-lt"/>
                <a:cs typeface="Arial"/>
              </a:rPr>
              <a:t>Υπηρεσίες </a:t>
            </a:r>
            <a:r>
              <a:rPr lang="el-GR" sz="1400" kern="0" dirty="0" err="1">
                <a:latin typeface="+mn-lt"/>
                <a:cs typeface="Arial"/>
              </a:rPr>
              <a:t>Διαιτολογικών</a:t>
            </a:r>
            <a:r>
              <a:rPr lang="el-GR" sz="1400" kern="0" dirty="0">
                <a:latin typeface="+mn-lt"/>
                <a:cs typeface="Arial"/>
              </a:rPr>
              <a:t> Μονάδων (πολυδύναμων μονάδων συνδυασμού αισθητικής και δίαιτας (με εξαίρεση την σωματική άσκηση)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defRPr/>
            </a:pPr>
            <a:endParaRPr lang="en-GB" sz="1400" kern="0" dirty="0">
              <a:latin typeface="+mn-lt"/>
              <a:cs typeface="Arial"/>
            </a:endParaRPr>
          </a:p>
        </p:txBody>
      </p:sp>
      <p:sp>
        <p:nvSpPr>
          <p:cNvPr id="18" name="Rectangle: Diagonal Corners Snipped 28">
            <a:extLst>
              <a:ext uri="{FF2B5EF4-FFF2-40B4-BE49-F238E27FC236}"/>
            </a:extLst>
          </p:cNvPr>
          <p:cNvSpPr/>
          <p:nvPr/>
        </p:nvSpPr>
        <p:spPr>
          <a:xfrm>
            <a:off x="744538" y="4000500"/>
            <a:ext cx="10512425" cy="839788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4</a:t>
            </a:r>
            <a:r>
              <a:rPr lang="en-GB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o 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Στάδιο – </a:t>
            </a:r>
            <a:r>
              <a:rPr lang="en-US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25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 Μαΐου</a:t>
            </a:r>
          </a:p>
        </p:txBody>
      </p:sp>
      <p:sp>
        <p:nvSpPr>
          <p:cNvPr id="19" name="Google Shape;1808;p278">
            <a:extLst>
              <a:ext uri="{FF2B5EF4-FFF2-40B4-BE49-F238E27FC236}"/>
            </a:extLst>
          </p:cNvPr>
          <p:cNvSpPr txBox="1"/>
          <p:nvPr/>
        </p:nvSpPr>
        <p:spPr>
          <a:xfrm>
            <a:off x="763588" y="4962525"/>
            <a:ext cx="777875" cy="78740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lIns="36000" tIns="80669" rIns="36000" bIns="8066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/>
            </a:pPr>
            <a:r>
              <a:rPr lang="en-US" sz="1588" b="1" kern="0" dirty="0">
                <a:solidFill>
                  <a:schemeClr val="bg1"/>
                </a:solidFill>
                <a:latin typeface="+mn-lt"/>
                <a:ea typeface="Helvetica Neue"/>
                <a:cs typeface="Helvetica Neue"/>
                <a:sym typeface="Helvetica Neue"/>
              </a:rPr>
              <a:t>56.10</a:t>
            </a:r>
            <a:endParaRPr sz="1588" b="1" kern="0" dirty="0">
              <a:solidFill>
                <a:schemeClr val="bg1"/>
              </a:solidFill>
              <a:latin typeface="+mn-lt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8" name="Rectangle 40">
            <a:extLst>
              <a:ext uri="{FF2B5EF4-FFF2-40B4-BE49-F238E27FC236}"/>
            </a:extLst>
          </p:cNvPr>
          <p:cNvSpPr/>
          <p:nvPr/>
        </p:nvSpPr>
        <p:spPr>
          <a:xfrm>
            <a:off x="1630363" y="4962525"/>
            <a:ext cx="4097337" cy="7874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lIns="80669" tIns="40324" rIns="80669" bIns="40324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defRPr/>
            </a:pPr>
            <a:r>
              <a:rPr lang="el-GR" sz="1400" kern="0" dirty="0">
                <a:latin typeface="+mn-lt"/>
                <a:cs typeface="Arial"/>
              </a:rPr>
              <a:t>Δραστηριότητες υπηρεσιών εστιατορίων και κινητών μονάδων εστίασης.</a:t>
            </a:r>
            <a:endParaRPr lang="el-GR" sz="1400" kern="0" dirty="0">
              <a:latin typeface="+mn-lt"/>
              <a:cs typeface="Arial"/>
            </a:endParaRPr>
          </a:p>
        </p:txBody>
      </p:sp>
      <p:sp>
        <p:nvSpPr>
          <p:cNvPr id="30" name="Google Shape;1808;p278">
            <a:extLst>
              <a:ext uri="{FF2B5EF4-FFF2-40B4-BE49-F238E27FC236}"/>
            </a:extLst>
          </p:cNvPr>
          <p:cNvSpPr txBox="1"/>
          <p:nvPr/>
        </p:nvSpPr>
        <p:spPr>
          <a:xfrm>
            <a:off x="6170613" y="4970463"/>
            <a:ext cx="779462" cy="788987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lIns="36000" tIns="80669" rIns="36000" bIns="8066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/>
            </a:pPr>
            <a:r>
              <a:rPr lang="el-GR" sz="1588" b="1" kern="0" dirty="0">
                <a:solidFill>
                  <a:schemeClr val="bg1"/>
                </a:solidFill>
                <a:latin typeface="+mn-lt"/>
                <a:ea typeface="Helvetica Neue"/>
                <a:cs typeface="Helvetica Neue"/>
                <a:sym typeface="Helvetica Neue"/>
              </a:rPr>
              <a:t>(93.11. 10.04)</a:t>
            </a:r>
            <a:endParaRPr sz="1588" b="1" kern="0" dirty="0">
              <a:solidFill>
                <a:schemeClr val="bg1"/>
              </a:solidFill>
              <a:latin typeface="+mn-lt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1" name="Rectangle 40">
            <a:extLst>
              <a:ext uri="{FF2B5EF4-FFF2-40B4-BE49-F238E27FC236}"/>
            </a:extLst>
          </p:cNvPr>
          <p:cNvSpPr/>
          <p:nvPr/>
        </p:nvSpPr>
        <p:spPr>
          <a:xfrm>
            <a:off x="7037388" y="4970463"/>
            <a:ext cx="4098925" cy="78898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lIns="80669" tIns="40324" rIns="80669" bIns="40324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defRPr/>
            </a:pPr>
            <a:r>
              <a:rPr lang="el-GR" sz="1400" kern="0" dirty="0">
                <a:latin typeface="+mn-lt"/>
                <a:cs typeface="Arial"/>
              </a:rPr>
              <a:t>Υπηρεσίες πίστας καρτ</a:t>
            </a:r>
            <a:r>
              <a:rPr lang="en-US" sz="1400" kern="0" dirty="0">
                <a:latin typeface="+mn-lt"/>
                <a:cs typeface="Arial"/>
              </a:rPr>
              <a:t>.</a:t>
            </a:r>
            <a:endParaRPr lang="el-GR" sz="1400" kern="0" dirty="0">
              <a:latin typeface="+mn-lt"/>
              <a:cs typeface="Arial"/>
            </a:endParaRPr>
          </a:p>
        </p:txBody>
      </p:sp>
      <p:sp>
        <p:nvSpPr>
          <p:cNvPr id="32" name="Google Shape;1808;p278">
            <a:extLst>
              <a:ext uri="{FF2B5EF4-FFF2-40B4-BE49-F238E27FC236}"/>
            </a:extLst>
          </p:cNvPr>
          <p:cNvSpPr txBox="1"/>
          <p:nvPr/>
        </p:nvSpPr>
        <p:spPr>
          <a:xfrm>
            <a:off x="755650" y="5810250"/>
            <a:ext cx="779463" cy="78740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lIns="36000" tIns="80669" rIns="36000" bIns="8066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/>
            </a:pPr>
            <a:r>
              <a:rPr lang="en-US" sz="1588" b="1" kern="0" dirty="0">
                <a:solidFill>
                  <a:schemeClr val="bg1"/>
                </a:solidFill>
                <a:latin typeface="+mn-lt"/>
                <a:ea typeface="Helvetica Neue"/>
                <a:cs typeface="Helvetica Neue"/>
                <a:sym typeface="Helvetica Neue"/>
              </a:rPr>
              <a:t>56.</a:t>
            </a:r>
            <a:r>
              <a:rPr lang="el-GR" sz="1588" b="1" kern="0" dirty="0">
                <a:solidFill>
                  <a:schemeClr val="bg1"/>
                </a:solidFill>
                <a:latin typeface="+mn-lt"/>
                <a:ea typeface="Helvetica Neue"/>
                <a:cs typeface="Helvetica Neue"/>
                <a:sym typeface="Helvetica Neue"/>
              </a:rPr>
              <a:t>30</a:t>
            </a:r>
            <a:endParaRPr sz="1588" b="1" kern="0" dirty="0">
              <a:solidFill>
                <a:schemeClr val="bg1"/>
              </a:solidFill>
              <a:latin typeface="+mn-lt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33" name="Rectangle 40">
            <a:extLst>
              <a:ext uri="{FF2B5EF4-FFF2-40B4-BE49-F238E27FC236}"/>
            </a:extLst>
          </p:cNvPr>
          <p:cNvSpPr/>
          <p:nvPr/>
        </p:nvSpPr>
        <p:spPr>
          <a:xfrm>
            <a:off x="1630363" y="5810250"/>
            <a:ext cx="4097337" cy="7874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lIns="80669" tIns="40324" rIns="80669" bIns="40324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defRPr/>
            </a:pPr>
            <a:r>
              <a:rPr lang="el-GR" sz="1400" kern="0" dirty="0">
                <a:latin typeface="+mn-lt"/>
                <a:cs typeface="Arial"/>
              </a:rPr>
              <a:t>Δραστηριότητες παροχής ποτών</a:t>
            </a:r>
            <a:endParaRPr lang="el-GR" sz="1400" kern="0" dirty="0">
              <a:latin typeface="+mn-lt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873" name="3 - TextBox"/>
          <p:cNvSpPr txBox="1">
            <a:spLocks noChangeArrowheads="1"/>
          </p:cNvSpPr>
          <p:nvPr/>
        </p:nvSpPr>
        <p:spPr bwMode="auto">
          <a:xfrm>
            <a:off x="425450" y="1527175"/>
            <a:ext cx="1072991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2000" b="1">
                <a:solidFill>
                  <a:srgbClr val="002060"/>
                </a:solidFill>
                <a:latin typeface="Calibri" pitchFamily="34" charset="0"/>
              </a:rPr>
              <a:t>Επάνοδος στην Εργασία: </a:t>
            </a:r>
            <a:r>
              <a:rPr lang="el-GR" sz="2000">
                <a:solidFill>
                  <a:srgbClr val="002060"/>
                </a:solidFill>
                <a:latin typeface="Calibri" pitchFamily="34" charset="0"/>
              </a:rPr>
              <a:t>Απασχολούμενοι &amp; Εμπορικές Επιχειρήσεις</a:t>
            </a:r>
          </a:p>
        </p:txBody>
      </p:sp>
      <p:graphicFrame>
        <p:nvGraphicFramePr>
          <p:cNvPr id="6" name="5 - Διάγραμμα"/>
          <p:cNvGraphicFramePr/>
          <p:nvPr/>
        </p:nvGraphicFramePr>
        <p:xfrm>
          <a:off x="1127448" y="2289951"/>
          <a:ext cx="5472608" cy="4048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7" name="6 - Διάγραμμα"/>
          <p:cNvGraphicFramePr/>
          <p:nvPr/>
        </p:nvGraphicFramePr>
        <p:xfrm>
          <a:off x="5303912" y="2289951"/>
          <a:ext cx="6048672" cy="40482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8" name="Rectangle: Diagonal Corners Snipped 7">
            <a:extLst>
              <a:ext uri="{FF2B5EF4-FFF2-40B4-BE49-F238E27FC236}"/>
            </a:extLst>
          </p:cNvPr>
          <p:cNvSpPr/>
          <p:nvPr/>
        </p:nvSpPr>
        <p:spPr>
          <a:xfrm>
            <a:off x="425450" y="547688"/>
            <a:ext cx="10987088" cy="874712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3</a:t>
            </a:r>
            <a:r>
              <a:rPr lang="en-GB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o 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&amp; 4</a:t>
            </a:r>
            <a:r>
              <a:rPr lang="el-GR" sz="2400" baseline="300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ο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 Στάδιο – 18 &amp; 25 Μαΐου</a:t>
            </a:r>
          </a:p>
        </p:txBody>
      </p:sp>
      <p:sp>
        <p:nvSpPr>
          <p:cNvPr id="335877" name="Slide Number Placeholder 1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ts val="900"/>
            </a:pPr>
            <a:fld id="{50B8EB87-3D80-43D6-A350-F87A9752455A}" type="slidenum">
              <a: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ts val="900"/>
              </a:pPr>
              <a:t>5</a:t>
            </a:fld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6897" name="3 - Θέση αριθμού διαφάνειας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ts val="900"/>
            </a:pPr>
            <a:fld id="{DCD2DEEF-5558-40BE-9DD0-150746AE8129}" type="slidenum">
              <a: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ts val="900"/>
              </a:pPr>
              <a:t>6</a:t>
            </a:fld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5" name="Rectangle: Diagonal Corners Snipped 7">
            <a:extLst>
              <a:ext uri="{FF2B5EF4-FFF2-40B4-BE49-F238E27FC236}"/>
            </a:extLst>
          </p:cNvPr>
          <p:cNvSpPr/>
          <p:nvPr/>
        </p:nvSpPr>
        <p:spPr>
          <a:xfrm>
            <a:off x="425450" y="547688"/>
            <a:ext cx="10987088" cy="874712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n-GB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1</a:t>
            </a:r>
            <a:r>
              <a:rPr lang="el-GR" sz="2400" baseline="300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ο</a:t>
            </a:r>
            <a:r>
              <a:rPr lang="en-GB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 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Στάδιο, 2</a:t>
            </a:r>
            <a:r>
              <a:rPr lang="el-GR" sz="2400" baseline="300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ο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 Στάδιο , 3</a:t>
            </a:r>
            <a:r>
              <a:rPr lang="el-GR" sz="2400" baseline="300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ο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 &amp; 4</a:t>
            </a:r>
            <a:r>
              <a:rPr lang="el-GR" sz="2400" baseline="300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ο 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Στάδιο </a:t>
            </a:r>
          </a:p>
        </p:txBody>
      </p:sp>
      <p:graphicFrame>
        <p:nvGraphicFramePr>
          <p:cNvPr id="6" name="5 - Διάγραμμα"/>
          <p:cNvGraphicFramePr/>
          <p:nvPr/>
        </p:nvGraphicFramePr>
        <p:xfrm>
          <a:off x="949766" y="1978550"/>
          <a:ext cx="9382234" cy="1434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7 - Ορθογώνιο"/>
          <p:cNvSpPr/>
          <p:nvPr/>
        </p:nvSpPr>
        <p:spPr>
          <a:xfrm>
            <a:off x="903288" y="4295775"/>
            <a:ext cx="5554662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2000" b="1" dirty="0">
                <a:solidFill>
                  <a:schemeClr val="accent3">
                    <a:lumMod val="75000"/>
                  </a:schemeClr>
                </a:solidFill>
                <a:latin typeface="+mn-lt"/>
                <a:cs typeface="+mn-cs"/>
              </a:rPr>
              <a:t>2) Εμπορικές επιχειρήσεις που επαναλειτουργούν</a:t>
            </a:r>
          </a:p>
        </p:txBody>
      </p:sp>
      <p:sp>
        <p:nvSpPr>
          <p:cNvPr id="10" name="9 - Ορθογώνιο"/>
          <p:cNvSpPr/>
          <p:nvPr/>
        </p:nvSpPr>
        <p:spPr>
          <a:xfrm>
            <a:off x="906463" y="3536950"/>
            <a:ext cx="1268412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2000" b="1" dirty="0">
                <a:solidFill>
                  <a:schemeClr val="accent4">
                    <a:lumMod val="50000"/>
                  </a:schemeClr>
                </a:solidFill>
                <a:latin typeface="+mn-lt"/>
                <a:cs typeface="+mn-cs"/>
              </a:rPr>
              <a:t>[4 Μαΐου]</a:t>
            </a:r>
          </a:p>
        </p:txBody>
      </p:sp>
      <p:sp>
        <p:nvSpPr>
          <p:cNvPr id="11" name="10 - Ορθογώνιο"/>
          <p:cNvSpPr/>
          <p:nvPr/>
        </p:nvSpPr>
        <p:spPr>
          <a:xfrm>
            <a:off x="2957513" y="3525838"/>
            <a:ext cx="1398587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2000" b="1" dirty="0">
                <a:solidFill>
                  <a:schemeClr val="accent4">
                    <a:lumMod val="50000"/>
                  </a:schemeClr>
                </a:solidFill>
                <a:latin typeface="+mn-lt"/>
                <a:cs typeface="+mn-cs"/>
              </a:rPr>
              <a:t>[11 Μαΐου]</a:t>
            </a:r>
          </a:p>
        </p:txBody>
      </p:sp>
      <p:sp>
        <p:nvSpPr>
          <p:cNvPr id="12" name="11 - Ορθογώνιο"/>
          <p:cNvSpPr/>
          <p:nvPr/>
        </p:nvSpPr>
        <p:spPr>
          <a:xfrm>
            <a:off x="4879975" y="3540125"/>
            <a:ext cx="1397000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2000" b="1" dirty="0">
                <a:solidFill>
                  <a:schemeClr val="accent4">
                    <a:lumMod val="50000"/>
                  </a:schemeClr>
                </a:solidFill>
                <a:latin typeface="+mn-lt"/>
                <a:cs typeface="+mn-cs"/>
              </a:rPr>
              <a:t>[18 Μαΐου]</a:t>
            </a:r>
          </a:p>
        </p:txBody>
      </p:sp>
      <p:sp>
        <p:nvSpPr>
          <p:cNvPr id="13" name="12 - Ορθογώνιο"/>
          <p:cNvSpPr/>
          <p:nvPr/>
        </p:nvSpPr>
        <p:spPr>
          <a:xfrm>
            <a:off x="1003300" y="6308725"/>
            <a:ext cx="1268413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2000" b="1" dirty="0">
                <a:solidFill>
                  <a:schemeClr val="accent4">
                    <a:lumMod val="50000"/>
                  </a:schemeClr>
                </a:solidFill>
                <a:latin typeface="+mn-lt"/>
                <a:cs typeface="+mn-cs"/>
              </a:rPr>
              <a:t>[4 Μαΐου]</a:t>
            </a:r>
          </a:p>
        </p:txBody>
      </p:sp>
      <p:sp>
        <p:nvSpPr>
          <p:cNvPr id="14" name="13 - Ορθογώνιο"/>
          <p:cNvSpPr/>
          <p:nvPr/>
        </p:nvSpPr>
        <p:spPr>
          <a:xfrm>
            <a:off x="2903538" y="6321425"/>
            <a:ext cx="1398587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2000" b="1" dirty="0">
                <a:solidFill>
                  <a:schemeClr val="accent4">
                    <a:lumMod val="50000"/>
                  </a:schemeClr>
                </a:solidFill>
                <a:latin typeface="+mn-lt"/>
                <a:cs typeface="+mn-cs"/>
              </a:rPr>
              <a:t>[11 Μαΐου]</a:t>
            </a:r>
          </a:p>
        </p:txBody>
      </p:sp>
      <p:sp>
        <p:nvSpPr>
          <p:cNvPr id="15" name="14 - Ορθογώνιο"/>
          <p:cNvSpPr/>
          <p:nvPr/>
        </p:nvSpPr>
        <p:spPr>
          <a:xfrm>
            <a:off x="4962525" y="6318250"/>
            <a:ext cx="1398588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2000" b="1" dirty="0">
                <a:solidFill>
                  <a:schemeClr val="accent4">
                    <a:lumMod val="50000"/>
                  </a:schemeClr>
                </a:solidFill>
                <a:latin typeface="+mn-lt"/>
                <a:cs typeface="+mn-cs"/>
              </a:rPr>
              <a:t>[18 Μαΐου]</a:t>
            </a:r>
          </a:p>
        </p:txBody>
      </p:sp>
      <p:sp>
        <p:nvSpPr>
          <p:cNvPr id="17" name="16 - Ορθογώνιο"/>
          <p:cNvSpPr/>
          <p:nvPr/>
        </p:nvSpPr>
        <p:spPr>
          <a:xfrm>
            <a:off x="903288" y="1577975"/>
            <a:ext cx="5745162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2000" b="1" dirty="0">
                <a:solidFill>
                  <a:schemeClr val="accent3">
                    <a:lumMod val="75000"/>
                  </a:schemeClr>
                </a:solidFill>
                <a:latin typeface="+mn-lt"/>
                <a:cs typeface="+mn-cs"/>
              </a:rPr>
              <a:t>1) Απασχολούμενοι που επιστρέφουν στην εργασία</a:t>
            </a:r>
          </a:p>
        </p:txBody>
      </p:sp>
      <p:sp>
        <p:nvSpPr>
          <p:cNvPr id="16" name="15 - Ορθογώνιο"/>
          <p:cNvSpPr/>
          <p:nvPr/>
        </p:nvSpPr>
        <p:spPr>
          <a:xfrm>
            <a:off x="9250363" y="3535363"/>
            <a:ext cx="1130300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2000" b="1" dirty="0">
                <a:solidFill>
                  <a:schemeClr val="accent4">
                    <a:lumMod val="50000"/>
                  </a:schemeClr>
                </a:solidFill>
                <a:latin typeface="+mn-lt"/>
                <a:cs typeface="+mn-cs"/>
              </a:rPr>
              <a:t>[Σύνολο]</a:t>
            </a:r>
          </a:p>
        </p:txBody>
      </p:sp>
      <p:sp>
        <p:nvSpPr>
          <p:cNvPr id="18" name="17 - Ορθογώνιο"/>
          <p:cNvSpPr/>
          <p:nvPr/>
        </p:nvSpPr>
        <p:spPr>
          <a:xfrm>
            <a:off x="9250363" y="6318250"/>
            <a:ext cx="1130300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2000" b="1" dirty="0">
                <a:solidFill>
                  <a:schemeClr val="accent4">
                    <a:lumMod val="50000"/>
                  </a:schemeClr>
                </a:solidFill>
                <a:latin typeface="+mn-lt"/>
                <a:cs typeface="+mn-cs"/>
              </a:rPr>
              <a:t>[Σύνολο]</a:t>
            </a:r>
          </a:p>
        </p:txBody>
      </p:sp>
      <p:sp>
        <p:nvSpPr>
          <p:cNvPr id="19" name="18 - Ορθογώνιο"/>
          <p:cNvSpPr/>
          <p:nvPr/>
        </p:nvSpPr>
        <p:spPr>
          <a:xfrm>
            <a:off x="7011988" y="3548063"/>
            <a:ext cx="1398587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2000" b="1" dirty="0">
                <a:solidFill>
                  <a:schemeClr val="accent4">
                    <a:lumMod val="50000"/>
                  </a:schemeClr>
                </a:solidFill>
                <a:latin typeface="+mn-lt"/>
                <a:cs typeface="+mn-cs"/>
              </a:rPr>
              <a:t>[25 Μαΐου]</a:t>
            </a:r>
          </a:p>
        </p:txBody>
      </p:sp>
      <p:sp>
        <p:nvSpPr>
          <p:cNvPr id="20" name="19 - Ορθογώνιο"/>
          <p:cNvSpPr/>
          <p:nvPr/>
        </p:nvSpPr>
        <p:spPr>
          <a:xfrm>
            <a:off x="7011988" y="6308725"/>
            <a:ext cx="1398587" cy="4000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2000" b="1" dirty="0">
                <a:solidFill>
                  <a:schemeClr val="accent4">
                    <a:lumMod val="50000"/>
                  </a:schemeClr>
                </a:solidFill>
                <a:latin typeface="+mn-lt"/>
                <a:cs typeface="+mn-cs"/>
              </a:rPr>
              <a:t>[25 Μαΐου]</a:t>
            </a:r>
          </a:p>
        </p:txBody>
      </p:sp>
      <p:graphicFrame>
        <p:nvGraphicFramePr>
          <p:cNvPr id="21" name="5 - Διάγραμμα"/>
          <p:cNvGraphicFramePr/>
          <p:nvPr/>
        </p:nvGraphicFramePr>
        <p:xfrm>
          <a:off x="903522" y="4749021"/>
          <a:ext cx="9382234" cy="1434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21" name="3 - Θέση αριθμού διαφάνειας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ts val="900"/>
            </a:pPr>
            <a:fld id="{A8F68D76-B620-4D35-93AF-517596CA6E94}" type="slidenum">
              <a: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ts val="900"/>
              </a:pPr>
              <a:t>7</a:t>
            </a:fld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337922" name="3 - TextBox"/>
          <p:cNvSpPr txBox="1">
            <a:spLocks noChangeArrowheads="1"/>
          </p:cNvSpPr>
          <p:nvPr/>
        </p:nvSpPr>
        <p:spPr bwMode="auto">
          <a:xfrm>
            <a:off x="500063" y="1300163"/>
            <a:ext cx="107283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2000" b="1">
                <a:solidFill>
                  <a:srgbClr val="002060"/>
                </a:solidFill>
                <a:latin typeface="Calibri" pitchFamily="34" charset="0"/>
              </a:rPr>
              <a:t>Κανόνες λειτουργίας επιχειρήσεων λιανικού εμπορίου – Μέγιστος επιτρεπόμενος πληθυσμός ατόμων.</a:t>
            </a:r>
          </a:p>
        </p:txBody>
      </p:sp>
      <p:sp>
        <p:nvSpPr>
          <p:cNvPr id="6" name="Rectangle: Diagonal Corners Snipped 10">
            <a:extLst>
              <a:ext uri="{FF2B5EF4-FFF2-40B4-BE49-F238E27FC236}"/>
            </a:extLst>
          </p:cNvPr>
          <p:cNvSpPr/>
          <p:nvPr/>
        </p:nvSpPr>
        <p:spPr>
          <a:xfrm>
            <a:off x="425450" y="327025"/>
            <a:ext cx="10987088" cy="874713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3</a:t>
            </a:r>
            <a:r>
              <a:rPr lang="en-GB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o 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Στάδιο – 18 Μαΐου</a:t>
            </a:r>
          </a:p>
        </p:txBody>
      </p:sp>
      <p:sp>
        <p:nvSpPr>
          <p:cNvPr id="7" name="TextBox 17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544513" y="2536825"/>
            <a:ext cx="987425" cy="38735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47.19</a:t>
            </a: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dirty="0" smtClean="0">
              <a:solidFill>
                <a:schemeClr val="bg1"/>
              </a:solidFill>
              <a:cs typeface="+mn-cs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dirty="0" smtClean="0">
                <a:solidFill>
                  <a:schemeClr val="bg1"/>
                </a:solidFill>
                <a:cs typeface="+mn-cs"/>
              </a:rPr>
              <a:t>εμπορικά κέντρα (</a:t>
            </a:r>
            <a:r>
              <a:rPr lang="en-US" dirty="0" smtClean="0">
                <a:solidFill>
                  <a:schemeClr val="bg1"/>
                </a:solidFill>
                <a:cs typeface="+mn-cs"/>
              </a:rPr>
              <a:t>malls), </a:t>
            </a:r>
            <a:r>
              <a:rPr lang="el-GR" dirty="0" smtClean="0">
                <a:solidFill>
                  <a:schemeClr val="bg1"/>
                </a:solidFill>
                <a:cs typeface="+mn-cs"/>
              </a:rPr>
              <a:t>εκπτωτικά χωριά, εκπτωτικά καταστήματα (</a:t>
            </a:r>
            <a:r>
              <a:rPr lang="en-US" dirty="0" smtClean="0">
                <a:solidFill>
                  <a:schemeClr val="bg1"/>
                </a:solidFill>
                <a:cs typeface="+mn-cs"/>
              </a:rPr>
              <a:t>outlets)</a:t>
            </a:r>
            <a:endParaRPr lang="el-GR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" name="TextBox 18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589088" y="2565400"/>
            <a:ext cx="6686550" cy="7794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300" b="1" dirty="0">
                <a:cs typeface="Times New Roman" panose="02020603050405020304" pitchFamily="18" charset="0"/>
              </a:rPr>
              <a:t>Έως 20 τ.μ. </a:t>
            </a:r>
          </a:p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300" u="sng" dirty="0">
                <a:cs typeface="Times New Roman" panose="02020603050405020304" pitchFamily="18" charset="0"/>
              </a:rPr>
              <a:t>Παράδειγμα</a:t>
            </a:r>
            <a:r>
              <a:rPr lang="el-GR" sz="1300" dirty="0">
                <a:cs typeface="Times New Roman" panose="02020603050405020304" pitchFamily="18" charset="0"/>
              </a:rPr>
              <a:t>: Κατάστημα εμβαδού κυρίως</a:t>
            </a:r>
            <a:r>
              <a:rPr lang="en-US" sz="1300" dirty="0">
                <a:cs typeface="Times New Roman" panose="02020603050405020304" pitchFamily="18" charset="0"/>
              </a:rPr>
              <a:t> </a:t>
            </a:r>
            <a:r>
              <a:rPr lang="el-GR" sz="1300" dirty="0">
                <a:cs typeface="Times New Roman" panose="02020603050405020304" pitchFamily="18" charset="0"/>
              </a:rPr>
              <a:t>χώρου </a:t>
            </a:r>
            <a:r>
              <a:rPr lang="el-GR" sz="1300" dirty="0" smtClean="0">
                <a:cs typeface="Times New Roman" panose="02020603050405020304" pitchFamily="18" charset="0"/>
              </a:rPr>
              <a:t>18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 </a:t>
            </a:r>
            <a:r>
              <a:rPr lang="el-GR" sz="1400" kern="1200" dirty="0">
                <a:solidFill>
                  <a:srgbClr val="002060"/>
                </a:solidFill>
                <a:latin typeface="Arial"/>
                <a:cs typeface="Times New Roman"/>
                <a:sym typeface="Wingdings" pitchFamily="2" charset="2"/>
              </a:rPr>
              <a:t>-</a:t>
            </a:r>
            <a:r>
              <a:rPr lang="el-GR" sz="1300" dirty="0">
                <a:cs typeface="Times New Roman" panose="02020603050405020304" pitchFamily="18" charset="0"/>
              </a:rPr>
              <a:t> </a:t>
            </a:r>
            <a:r>
              <a:rPr lang="el-GR" sz="1300" dirty="0" smtClean="0">
                <a:cs typeface="Times New Roman" panose="02020603050405020304" pitchFamily="18" charset="0"/>
              </a:rPr>
              <a:t>συνολικά </a:t>
            </a:r>
            <a:r>
              <a:rPr lang="en-US" sz="1300" dirty="0" smtClean="0">
                <a:cs typeface="Times New Roman" panose="02020603050405020304" pitchFamily="18" charset="0"/>
              </a:rPr>
              <a:t>4 </a:t>
            </a:r>
            <a:r>
              <a:rPr lang="el-GR" sz="1300" dirty="0" smtClean="0">
                <a:cs typeface="Times New Roman" panose="02020603050405020304" pitchFamily="18" charset="0"/>
              </a:rPr>
              <a:t>άτομα </a:t>
            </a:r>
            <a:r>
              <a:rPr lang="el-GR" sz="1300" dirty="0">
                <a:cs typeface="Times New Roman" panose="02020603050405020304" pitchFamily="18" charset="0"/>
              </a:rPr>
              <a:t>(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.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9" name="TextBox 19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8332788" y="2565400"/>
            <a:ext cx="3205162" cy="7651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300" dirty="0">
                <a:cs typeface="Times New Roman" panose="02020603050405020304" pitchFamily="18" charset="0"/>
              </a:rPr>
              <a:t>4 άτομα</a:t>
            </a:r>
          </a:p>
        </p:txBody>
      </p:sp>
      <p:sp>
        <p:nvSpPr>
          <p:cNvPr id="10" name="TextBox 59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589088" y="3417888"/>
            <a:ext cx="6686550" cy="82391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300" b="1" dirty="0">
                <a:cs typeface="Times New Roman" panose="02020603050405020304" pitchFamily="18" charset="0"/>
              </a:rPr>
              <a:t>Από </a:t>
            </a:r>
            <a:r>
              <a:rPr lang="el-GR" sz="1300" b="1" dirty="0" smtClean="0">
                <a:cs typeface="Times New Roman" panose="02020603050405020304" pitchFamily="18" charset="0"/>
              </a:rPr>
              <a:t>20</a:t>
            </a:r>
            <a:r>
              <a:rPr lang="en-US" sz="1300" b="1" dirty="0" smtClean="0">
                <a:cs typeface="Times New Roman" panose="02020603050405020304" pitchFamily="18" charset="0"/>
              </a:rPr>
              <a:t> </a:t>
            </a:r>
            <a:r>
              <a:rPr lang="el-GR" sz="1300" b="1" dirty="0" err="1">
                <a:cs typeface="Times New Roman" panose="02020603050405020304" pitchFamily="18" charset="0"/>
              </a:rPr>
              <a:t>τ.μ</a:t>
            </a:r>
            <a:r>
              <a:rPr lang="el-GR" sz="1300" b="1" dirty="0">
                <a:cs typeface="Times New Roman" panose="02020603050405020304" pitchFamily="18" charset="0"/>
              </a:rPr>
              <a:t>. έως 100 τ.μ.</a:t>
            </a:r>
          </a:p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300" u="sng" dirty="0">
                <a:cs typeface="Times New Roman" panose="02020603050405020304" pitchFamily="18" charset="0"/>
              </a:rPr>
              <a:t>Παράδειγμα</a:t>
            </a:r>
            <a:r>
              <a:rPr lang="el-GR" sz="1300" dirty="0">
                <a:cs typeface="Times New Roman" panose="02020603050405020304" pitchFamily="18" charset="0"/>
              </a:rPr>
              <a:t>: Κατάστημα εμβαδού κυρίως χώρου </a:t>
            </a:r>
            <a:r>
              <a:rPr lang="el-GR" sz="1300" dirty="0" smtClean="0">
                <a:cs typeface="Times New Roman" panose="02020603050405020304" pitchFamily="18" charset="0"/>
              </a:rPr>
              <a:t>5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 </a:t>
            </a:r>
            <a:r>
              <a:rPr lang="el-GR" sz="1300" dirty="0">
                <a:cs typeface="Times New Roman" panose="02020603050405020304" pitchFamily="18" charset="0"/>
              </a:rPr>
              <a:t>- </a:t>
            </a:r>
            <a:r>
              <a:rPr lang="el-GR" sz="1300" dirty="0" smtClean="0">
                <a:cs typeface="Times New Roman" panose="02020603050405020304" pitchFamily="18" charset="0"/>
              </a:rPr>
              <a:t>(4 άτομα για την επιφάνεια εως τα </a:t>
            </a:r>
            <a:r>
              <a:rPr lang="el-GR" sz="1300" dirty="0">
                <a:cs typeface="Times New Roman" panose="02020603050405020304" pitchFamily="18" charset="0"/>
              </a:rPr>
              <a:t>20 </a:t>
            </a:r>
            <a:r>
              <a:rPr lang="el-GR" sz="1300" dirty="0" smtClean="0">
                <a:cs typeface="Times New Roman" panose="02020603050405020304" pitchFamily="18" charset="0"/>
              </a:rPr>
              <a:t>τ.μ.+3 άτομα για την επιφάνεια από τα 20 τμ εως </a:t>
            </a:r>
            <a:r>
              <a:rPr lang="el-GR" sz="1300" dirty="0">
                <a:cs typeface="Times New Roman" panose="02020603050405020304" pitchFamily="18" charset="0"/>
              </a:rPr>
              <a:t>τα 50 τμ ) </a:t>
            </a:r>
            <a:r>
              <a:rPr lang="el-GR" sz="1300" dirty="0" smtClean="0">
                <a:cs typeface="Times New Roman" panose="02020603050405020304" pitchFamily="18" charset="0"/>
              </a:rPr>
              <a:t>συνολικά </a:t>
            </a:r>
            <a:r>
              <a:rPr lang="en-US" sz="1300" dirty="0" smtClean="0">
                <a:cs typeface="Times New Roman" panose="02020603050405020304" pitchFamily="18" charset="0"/>
              </a:rPr>
              <a:t>7 </a:t>
            </a:r>
            <a:r>
              <a:rPr lang="el-GR" sz="1300" dirty="0" smtClean="0">
                <a:cs typeface="Times New Roman" panose="02020603050405020304" pitchFamily="18" charset="0"/>
              </a:rPr>
              <a:t>άτομα </a:t>
            </a:r>
            <a:r>
              <a:rPr lang="el-GR" sz="1300" dirty="0">
                <a:cs typeface="Times New Roman" panose="02020603050405020304" pitchFamily="18" charset="0"/>
              </a:rPr>
              <a:t>(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.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1" name="TextBox 60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573213" y="4324350"/>
            <a:ext cx="6686550" cy="8350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300" b="1" dirty="0">
                <a:cs typeface="Times New Roman" panose="02020603050405020304" pitchFamily="18" charset="0"/>
              </a:rPr>
              <a:t>Άνω των 100 τ.μ.</a:t>
            </a:r>
            <a:br>
              <a:rPr lang="el-GR" sz="1300" b="1" dirty="0">
                <a:cs typeface="Times New Roman" panose="02020603050405020304" pitchFamily="18" charset="0"/>
              </a:rPr>
            </a:br>
            <a:r>
              <a:rPr lang="el-GR" sz="1300" u="sng" dirty="0">
                <a:cs typeface="Times New Roman" panose="02020603050405020304" pitchFamily="18" charset="0"/>
              </a:rPr>
              <a:t>Παράδειγμα </a:t>
            </a:r>
            <a:r>
              <a:rPr lang="el-GR" sz="1300" dirty="0" smtClean="0">
                <a:cs typeface="Times New Roman" panose="02020603050405020304" pitchFamily="18" charset="0"/>
              </a:rPr>
              <a:t>: </a:t>
            </a:r>
            <a:r>
              <a:rPr lang="el-GR" sz="1300" dirty="0">
                <a:cs typeface="Times New Roman" panose="02020603050405020304" pitchFamily="18" charset="0"/>
              </a:rPr>
              <a:t>Κατάστημα εμβαδού κυρίως χώρου 130 </a:t>
            </a:r>
            <a:r>
              <a:rPr lang="el-GR" sz="1300" dirty="0" smtClean="0">
                <a:cs typeface="Times New Roman" panose="02020603050405020304" pitchFamily="18" charset="0"/>
              </a:rPr>
              <a:t>τ.μ. - </a:t>
            </a:r>
            <a:r>
              <a:rPr lang="el-GR" sz="1300" dirty="0">
                <a:cs typeface="Times New Roman" panose="02020603050405020304" pitchFamily="18" charset="0"/>
              </a:rPr>
              <a:t>(12 άτομα </a:t>
            </a:r>
            <a:r>
              <a:rPr lang="el-GR" sz="1300" dirty="0" smtClean="0">
                <a:cs typeface="Times New Roman" panose="02020603050405020304" pitchFamily="18" charset="0"/>
              </a:rPr>
              <a:t>για την επιφάνεια εως τα 100 τ.μ. </a:t>
            </a:r>
            <a:r>
              <a:rPr lang="el-GR" sz="1300" dirty="0">
                <a:cs typeface="Times New Roman" panose="02020603050405020304" pitchFamily="18" charset="0"/>
              </a:rPr>
              <a:t>+ 2 άτομα για την επιφάνεια από 100 έως 13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) </a:t>
            </a:r>
            <a:r>
              <a:rPr lang="el-GR" sz="1300" dirty="0">
                <a:cs typeface="Times New Roman" panose="02020603050405020304" pitchFamily="18" charset="0"/>
              </a:rPr>
              <a:t>συνολικά 14 άτομα (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. 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2" name="TextBox 61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8332788" y="3417888"/>
            <a:ext cx="3205162" cy="82391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300" dirty="0">
                <a:cs typeface="Times New Roman" panose="02020603050405020304" pitchFamily="18" charset="0"/>
              </a:rPr>
              <a:t>4 άτομα +1 άτομο ανά 10 τ.μ. για την επιφάνεια από 20 έως 10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3" name="TextBox 62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8332788" y="4338638"/>
            <a:ext cx="3205162" cy="82073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300" dirty="0">
                <a:cs typeface="Times New Roman" panose="02020603050405020304" pitchFamily="18" charset="0"/>
              </a:rPr>
              <a:t>12 άτομα + 1 άτομο ανά 15 τ.μ. για την επιφάνεια άνω των 10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337931" name="TextBox 63"/>
          <p:cNvSpPr txBox="1">
            <a:spLocks noChangeArrowheads="1"/>
          </p:cNvSpPr>
          <p:nvPr/>
        </p:nvSpPr>
        <p:spPr bwMode="auto">
          <a:xfrm>
            <a:off x="1576388" y="5232400"/>
            <a:ext cx="9948862" cy="484188"/>
          </a:xfrm>
          <a:prstGeom prst="rect">
            <a:avLst/>
          </a:prstGeom>
          <a:solidFill>
            <a:srgbClr val="DEECEF"/>
          </a:solidFill>
          <a:ln w="9525">
            <a:noFill/>
            <a:miter lim="800000"/>
            <a:headEnd/>
            <a:tailEnd/>
          </a:ln>
        </p:spPr>
        <p:txBody>
          <a:bodyPr lIns="108000" tIns="144000" rIns="72000" bIns="54000" anchor="ctr"/>
          <a:lstStyle/>
          <a:p>
            <a:pPr eaLnBrk="0" hangingPunct="0">
              <a:buFont typeface="Arial" charset="0"/>
              <a:buNone/>
            </a:pPr>
            <a:r>
              <a:rPr lang="el-GR" sz="1300" b="1">
                <a:latin typeface="Calibri" pitchFamily="34" charset="0"/>
                <a:ea typeface="Geneva"/>
                <a:cs typeface="Times New Roman" pitchFamily="18" charset="0"/>
              </a:rPr>
              <a:t>Άνω των 300 τ.μ. που αναπτύσσονται σε επίπεδα ισχύει το κριτήριο επιπέδων, ήτοι 1 άτομο ανά 10 τ.μ. ανά όροφο.</a:t>
            </a:r>
          </a:p>
        </p:txBody>
      </p:sp>
      <p:sp>
        <p:nvSpPr>
          <p:cNvPr id="15" name="TextBox 66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581150" y="2087563"/>
            <a:ext cx="6686550" cy="41433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300" b="1" dirty="0">
                <a:cs typeface="Times New Roman" panose="02020603050405020304" pitchFamily="18" charset="0"/>
              </a:rPr>
              <a:t>Τετραγωνικά μέτρα εμβαδού κυρίως χώρου </a:t>
            </a:r>
          </a:p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300" dirty="0">
                <a:cs typeface="Times New Roman" panose="02020603050405020304" pitchFamily="18" charset="0"/>
              </a:rPr>
              <a:t>(πλην βοηθητικών πχ γραφεία, </a:t>
            </a:r>
            <a:r>
              <a:rPr lang="el-GR" sz="1300" dirty="0" smtClean="0">
                <a:cs typeface="Times New Roman" panose="02020603050405020304" pitchFamily="18" charset="0"/>
              </a:rPr>
              <a:t>αποθήκη, χώροι στάθμευσης)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6" name="TextBox 67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544513" y="2078038"/>
            <a:ext cx="987425" cy="42386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300" b="1" dirty="0">
                <a:solidFill>
                  <a:schemeClr val="bg1"/>
                </a:solidFill>
                <a:cs typeface="Times New Roman" panose="02020603050405020304" pitchFamily="18" charset="0"/>
              </a:rPr>
              <a:t>ΚΑΔ</a:t>
            </a:r>
          </a:p>
        </p:txBody>
      </p:sp>
      <p:sp>
        <p:nvSpPr>
          <p:cNvPr id="17" name="TextBox 68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8316913" y="2078038"/>
            <a:ext cx="3221037" cy="42386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300" b="1" dirty="0">
                <a:cs typeface="Times New Roman" panose="02020603050405020304" pitchFamily="18" charset="0"/>
              </a:rPr>
              <a:t>Πληθυσμός ατόμων </a:t>
            </a:r>
            <a:br>
              <a:rPr lang="el-GR" sz="1300" b="1" dirty="0">
                <a:cs typeface="Times New Roman" panose="02020603050405020304" pitchFamily="18" charset="0"/>
              </a:rPr>
            </a:br>
            <a:r>
              <a:rPr lang="el-GR" sz="1300" dirty="0">
                <a:cs typeface="Times New Roman" panose="02020603050405020304" pitchFamily="18" charset="0"/>
              </a:rPr>
              <a:t>(μικτός 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337935" name="Freeform 106"/>
          <p:cNvSpPr>
            <a:spLocks noEditPoints="1"/>
          </p:cNvSpPr>
          <p:nvPr/>
        </p:nvSpPr>
        <p:spPr bwMode="auto">
          <a:xfrm>
            <a:off x="792163" y="2887663"/>
            <a:ext cx="530225" cy="558800"/>
          </a:xfrm>
          <a:custGeom>
            <a:avLst/>
            <a:gdLst>
              <a:gd name="T0" fmla="*/ 408940 w 192"/>
              <a:gd name="T1" fmla="*/ 90474 h 192"/>
              <a:gd name="T2" fmla="*/ 408940 w 192"/>
              <a:gd name="T3" fmla="*/ 0 h 192"/>
              <a:gd name="T4" fmla="*/ 121577 w 192"/>
              <a:gd name="T5" fmla="*/ 0 h 192"/>
              <a:gd name="T6" fmla="*/ 121577 w 192"/>
              <a:gd name="T7" fmla="*/ 90474 h 192"/>
              <a:gd name="T8" fmla="*/ 0 w 192"/>
              <a:gd name="T9" fmla="*/ 90474 h 192"/>
              <a:gd name="T10" fmla="*/ 0 w 192"/>
              <a:gd name="T11" fmla="*/ 224726 h 192"/>
              <a:gd name="T12" fmla="*/ 0 w 192"/>
              <a:gd name="T13" fmla="*/ 560355 h 192"/>
              <a:gd name="T14" fmla="*/ 428282 w 192"/>
              <a:gd name="T15" fmla="*/ 560355 h 192"/>
              <a:gd name="T16" fmla="*/ 530517 w 192"/>
              <a:gd name="T17" fmla="*/ 560355 h 192"/>
              <a:gd name="T18" fmla="*/ 530517 w 192"/>
              <a:gd name="T19" fmla="*/ 90474 h 192"/>
              <a:gd name="T20" fmla="*/ 408940 w 192"/>
              <a:gd name="T21" fmla="*/ 90474 h 192"/>
              <a:gd name="T22" fmla="*/ 143682 w 192"/>
              <a:gd name="T23" fmla="*/ 23348 h 192"/>
              <a:gd name="T24" fmla="*/ 386835 w 192"/>
              <a:gd name="T25" fmla="*/ 23348 h 192"/>
              <a:gd name="T26" fmla="*/ 386835 w 192"/>
              <a:gd name="T27" fmla="*/ 90474 h 192"/>
              <a:gd name="T28" fmla="*/ 143682 w 192"/>
              <a:gd name="T29" fmla="*/ 90474 h 192"/>
              <a:gd name="T30" fmla="*/ 143682 w 192"/>
              <a:gd name="T31" fmla="*/ 23348 h 192"/>
              <a:gd name="T32" fmla="*/ 22105 w 192"/>
              <a:gd name="T33" fmla="*/ 537007 h 192"/>
              <a:gd name="T34" fmla="*/ 22105 w 192"/>
              <a:gd name="T35" fmla="*/ 291852 h 192"/>
              <a:gd name="T36" fmla="*/ 71841 w 192"/>
              <a:gd name="T37" fmla="*/ 291852 h 192"/>
              <a:gd name="T38" fmla="*/ 356441 w 192"/>
              <a:gd name="T39" fmla="*/ 291852 h 192"/>
              <a:gd name="T40" fmla="*/ 406177 w 192"/>
              <a:gd name="T41" fmla="*/ 291852 h 192"/>
              <a:gd name="T42" fmla="*/ 406177 w 192"/>
              <a:gd name="T43" fmla="*/ 537007 h 192"/>
              <a:gd name="T44" fmla="*/ 22105 w 192"/>
              <a:gd name="T45" fmla="*/ 537007 h 192"/>
              <a:gd name="T46" fmla="*/ 93946 w 192"/>
              <a:gd name="T47" fmla="*/ 268503 h 192"/>
              <a:gd name="T48" fmla="*/ 168550 w 192"/>
              <a:gd name="T49" fmla="*/ 201378 h 192"/>
              <a:gd name="T50" fmla="*/ 259732 w 192"/>
              <a:gd name="T51" fmla="*/ 201378 h 192"/>
              <a:gd name="T52" fmla="*/ 334336 w 192"/>
              <a:gd name="T53" fmla="*/ 268503 h 192"/>
              <a:gd name="T54" fmla="*/ 93946 w 192"/>
              <a:gd name="T55" fmla="*/ 268503 h 192"/>
              <a:gd name="T56" fmla="*/ 508412 w 192"/>
              <a:gd name="T57" fmla="*/ 537007 h 192"/>
              <a:gd name="T58" fmla="*/ 428282 w 192"/>
              <a:gd name="T59" fmla="*/ 537007 h 192"/>
              <a:gd name="T60" fmla="*/ 428282 w 192"/>
              <a:gd name="T61" fmla="*/ 268503 h 192"/>
              <a:gd name="T62" fmla="*/ 356441 w 192"/>
              <a:gd name="T63" fmla="*/ 268503 h 192"/>
              <a:gd name="T64" fmla="*/ 259732 w 192"/>
              <a:gd name="T65" fmla="*/ 178029 h 192"/>
              <a:gd name="T66" fmla="*/ 168550 w 192"/>
              <a:gd name="T67" fmla="*/ 178029 h 192"/>
              <a:gd name="T68" fmla="*/ 71841 w 192"/>
              <a:gd name="T69" fmla="*/ 268503 h 192"/>
              <a:gd name="T70" fmla="*/ 22105 w 192"/>
              <a:gd name="T71" fmla="*/ 268503 h 192"/>
              <a:gd name="T72" fmla="*/ 22105 w 192"/>
              <a:gd name="T73" fmla="*/ 116741 h 192"/>
              <a:gd name="T74" fmla="*/ 508412 w 192"/>
              <a:gd name="T75" fmla="*/ 116741 h 192"/>
              <a:gd name="T76" fmla="*/ 508412 w 192"/>
              <a:gd name="T77" fmla="*/ 537007 h 19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92"/>
              <a:gd name="T118" fmla="*/ 0 h 192"/>
              <a:gd name="T119" fmla="*/ 192 w 192"/>
              <a:gd name="T120" fmla="*/ 192 h 192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92" h="192">
                <a:moveTo>
                  <a:pt x="148" y="31"/>
                </a:moveTo>
                <a:cubicBezTo>
                  <a:pt x="148" y="0"/>
                  <a:pt x="148" y="0"/>
                  <a:pt x="1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1"/>
                  <a:pt x="44" y="31"/>
                  <a:pt x="44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92"/>
                  <a:pt x="0" y="192"/>
                  <a:pt x="0" y="192"/>
                </a:cubicBezTo>
                <a:cubicBezTo>
                  <a:pt x="155" y="192"/>
                  <a:pt x="155" y="192"/>
                  <a:pt x="155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31"/>
                  <a:pt x="192" y="31"/>
                  <a:pt x="192" y="31"/>
                </a:cubicBezTo>
                <a:lnTo>
                  <a:pt x="148" y="31"/>
                </a:lnTo>
                <a:close/>
                <a:moveTo>
                  <a:pt x="52" y="8"/>
                </a:moveTo>
                <a:cubicBezTo>
                  <a:pt x="140" y="8"/>
                  <a:pt x="140" y="8"/>
                  <a:pt x="140" y="8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52" y="31"/>
                  <a:pt x="52" y="31"/>
                  <a:pt x="52" y="31"/>
                </a:cubicBezTo>
                <a:lnTo>
                  <a:pt x="52" y="8"/>
                </a:lnTo>
                <a:close/>
                <a:moveTo>
                  <a:pt x="8" y="184"/>
                </a:moveTo>
                <a:cubicBezTo>
                  <a:pt x="8" y="100"/>
                  <a:pt x="8" y="100"/>
                  <a:pt x="8" y="100"/>
                </a:cubicBezTo>
                <a:cubicBezTo>
                  <a:pt x="26" y="100"/>
                  <a:pt x="26" y="100"/>
                  <a:pt x="2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47" y="100"/>
                  <a:pt x="147" y="100"/>
                  <a:pt x="147" y="100"/>
                </a:cubicBezTo>
                <a:cubicBezTo>
                  <a:pt x="147" y="184"/>
                  <a:pt x="147" y="184"/>
                  <a:pt x="147" y="184"/>
                </a:cubicBezTo>
                <a:lnTo>
                  <a:pt x="8" y="184"/>
                </a:lnTo>
                <a:close/>
                <a:moveTo>
                  <a:pt x="34" y="92"/>
                </a:moveTo>
                <a:cubicBezTo>
                  <a:pt x="36" y="79"/>
                  <a:pt x="47" y="69"/>
                  <a:pt x="61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108" y="69"/>
                  <a:pt x="119" y="79"/>
                  <a:pt x="121" y="92"/>
                </a:cubicBezTo>
                <a:lnTo>
                  <a:pt x="34" y="92"/>
                </a:lnTo>
                <a:close/>
                <a:moveTo>
                  <a:pt x="184" y="184"/>
                </a:moveTo>
                <a:cubicBezTo>
                  <a:pt x="155" y="184"/>
                  <a:pt x="155" y="184"/>
                  <a:pt x="155" y="184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7" y="75"/>
                  <a:pt x="112" y="61"/>
                  <a:pt x="94" y="61"/>
                </a:cubicBezTo>
                <a:cubicBezTo>
                  <a:pt x="61" y="61"/>
                  <a:pt x="61" y="61"/>
                  <a:pt x="61" y="61"/>
                </a:cubicBezTo>
                <a:cubicBezTo>
                  <a:pt x="43" y="61"/>
                  <a:pt x="28" y="75"/>
                  <a:pt x="26" y="92"/>
                </a:cubicBezTo>
                <a:cubicBezTo>
                  <a:pt x="8" y="92"/>
                  <a:pt x="8" y="92"/>
                  <a:pt x="8" y="92"/>
                </a:cubicBezTo>
                <a:cubicBezTo>
                  <a:pt x="8" y="40"/>
                  <a:pt x="8" y="40"/>
                  <a:pt x="8" y="40"/>
                </a:cubicBezTo>
                <a:cubicBezTo>
                  <a:pt x="184" y="40"/>
                  <a:pt x="184" y="40"/>
                  <a:pt x="184" y="40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114300" tIns="57150" rIns="114300" bIns="57150"/>
          <a:lstStyle/>
          <a:p>
            <a:endParaRPr lang="el-GR"/>
          </a:p>
        </p:txBody>
      </p:sp>
      <p:sp>
        <p:nvSpPr>
          <p:cNvPr id="19" name="TextBox 63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581150" y="5765800"/>
            <a:ext cx="9948863" cy="64452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400" b="1" dirty="0" smtClean="0">
                <a:cs typeface="Times New Roman" panose="02020603050405020304" pitchFamily="18" charset="0"/>
              </a:rPr>
              <a:t>Ο μέγιστος επιτρεπόμενος αριθμός πελατών εντός των εμπορικών κέντρων </a:t>
            </a:r>
            <a:r>
              <a:rPr lang="el-GR" sz="1400" b="1" dirty="0">
                <a:cs typeface="Times New Roman" panose="02020603050405020304" pitchFamily="18" charset="0"/>
              </a:rPr>
              <a:t>(</a:t>
            </a:r>
            <a:r>
              <a:rPr lang="en-US" sz="1400" b="1" dirty="0">
                <a:cs typeface="Times New Roman" panose="02020603050405020304" pitchFamily="18" charset="0"/>
              </a:rPr>
              <a:t>malls), </a:t>
            </a:r>
            <a:r>
              <a:rPr lang="el-GR" sz="1400" b="1" dirty="0" smtClean="0">
                <a:cs typeface="Times New Roman" panose="02020603050405020304" pitchFamily="18" charset="0"/>
              </a:rPr>
              <a:t>εκπτωτικών χωριών και εκπτωτικών καταστήματων </a:t>
            </a:r>
            <a:r>
              <a:rPr lang="el-GR" sz="1400" b="1" dirty="0">
                <a:cs typeface="Times New Roman" panose="02020603050405020304" pitchFamily="18" charset="0"/>
              </a:rPr>
              <a:t>(</a:t>
            </a:r>
            <a:r>
              <a:rPr lang="en-US" sz="1400" b="1" dirty="0" smtClean="0">
                <a:cs typeface="Times New Roman" panose="02020603050405020304" pitchFamily="18" charset="0"/>
              </a:rPr>
              <a:t>outlets</a:t>
            </a:r>
            <a:r>
              <a:rPr lang="el-GR" sz="1400" b="1" dirty="0" smtClean="0">
                <a:cs typeface="Times New Roman" panose="02020603050405020304" pitchFamily="18" charset="0"/>
              </a:rPr>
              <a:t>)</a:t>
            </a:r>
            <a:r>
              <a:rPr lang="en-US" sz="1400" b="1" dirty="0" smtClean="0">
                <a:cs typeface="Times New Roman" panose="02020603050405020304" pitchFamily="18" charset="0"/>
              </a:rPr>
              <a:t>, </a:t>
            </a:r>
            <a:r>
              <a:rPr lang="el-GR" sz="1400" b="1" dirty="0" smtClean="0">
                <a:cs typeface="Times New Roman" panose="02020603050405020304" pitchFamily="18" charset="0"/>
              </a:rPr>
              <a:t>ορίζεται ως εξής</a:t>
            </a:r>
            <a:r>
              <a:rPr lang="en-US" sz="1400" b="1" dirty="0" smtClean="0">
                <a:cs typeface="Times New Roman" panose="02020603050405020304" pitchFamily="18" charset="0"/>
              </a:rPr>
              <a:t>:</a:t>
            </a:r>
            <a:r>
              <a:rPr lang="el-GR" sz="1400" b="1" dirty="0" smtClean="0">
                <a:cs typeface="Times New Roman" panose="02020603050405020304" pitchFamily="18" charset="0"/>
              </a:rPr>
              <a:t> </a:t>
            </a:r>
            <a:r>
              <a:rPr lang="en-US" sz="1400" b="1" dirty="0" smtClean="0">
                <a:cs typeface="Times New Roman" panose="02020603050405020304" pitchFamily="18" charset="0"/>
              </a:rPr>
              <a:t> </a:t>
            </a:r>
            <a:r>
              <a:rPr lang="el-GR" sz="1400" b="1" dirty="0" smtClean="0">
                <a:cs typeface="Times New Roman" panose="02020603050405020304" pitchFamily="18" charset="0"/>
              </a:rPr>
              <a:t>Ένας (1) πελάτης ανα 20</a:t>
            </a:r>
            <a:r>
              <a:rPr lang="el-GR" sz="1400" b="1" dirty="0" smtClean="0">
                <a:cs typeface="Times New Roman" panose="02020603050405020304" pitchFamily="18" charset="0"/>
                <a:sym typeface="Wingdings" pitchFamily="2" charset="2"/>
              </a:rPr>
              <a:t> τ.μ. επιφάνειας κυρίως χώρου. </a:t>
            </a:r>
            <a:endParaRPr lang="el-GR" sz="1400" b="1" dirty="0"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945" name="3 - Θέση αριθμού διαφάνειας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ts val="900"/>
            </a:pPr>
            <a:fld id="{52319319-EB14-41F9-B335-77F04168F73D}" type="slidenum">
              <a: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ts val="900"/>
              </a:pPr>
              <a:t>8</a:t>
            </a:fld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5" name="Rectangle: Diagonal Corners Snipped 10">
            <a:extLst>
              <a:ext uri="{FF2B5EF4-FFF2-40B4-BE49-F238E27FC236}"/>
            </a:extLst>
          </p:cNvPr>
          <p:cNvSpPr/>
          <p:nvPr/>
        </p:nvSpPr>
        <p:spPr>
          <a:xfrm>
            <a:off x="425450" y="547688"/>
            <a:ext cx="10987088" cy="874712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3</a:t>
            </a:r>
            <a:r>
              <a:rPr lang="en-GB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o 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Στάδιο – 18 Μαΐου</a:t>
            </a:r>
          </a:p>
        </p:txBody>
      </p:sp>
      <p:sp>
        <p:nvSpPr>
          <p:cNvPr id="6" name="TextBox 17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463675" y="2570163"/>
            <a:ext cx="1179513" cy="380682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47.19</a:t>
            </a: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400" dirty="0" smtClean="0">
                <a:solidFill>
                  <a:schemeClr val="bg1"/>
                </a:solidFill>
                <a:cs typeface="+mn-cs"/>
              </a:rPr>
              <a:t>εμπορικά κέντρα (</a:t>
            </a:r>
            <a:r>
              <a:rPr lang="en-US" sz="1400" dirty="0" smtClean="0">
                <a:solidFill>
                  <a:schemeClr val="bg1"/>
                </a:solidFill>
                <a:cs typeface="+mn-cs"/>
              </a:rPr>
              <a:t>malls), </a:t>
            </a:r>
            <a:r>
              <a:rPr lang="el-GR" sz="1400" dirty="0" smtClean="0">
                <a:solidFill>
                  <a:schemeClr val="bg1"/>
                </a:solidFill>
                <a:cs typeface="+mn-cs"/>
              </a:rPr>
              <a:t>εκπτωτικά χωριά, εκπτωτικά καταστήματα (</a:t>
            </a:r>
            <a:r>
              <a:rPr lang="en-US" sz="1400" dirty="0" smtClean="0">
                <a:solidFill>
                  <a:schemeClr val="bg1"/>
                </a:solidFill>
                <a:cs typeface="+mn-cs"/>
              </a:rPr>
              <a:t>outlets</a:t>
            </a:r>
            <a:r>
              <a:rPr lang="el-GR" sz="1400" dirty="0" smtClean="0">
                <a:solidFill>
                  <a:schemeClr val="bg1"/>
                </a:solidFill>
                <a:cs typeface="+mn-cs"/>
              </a:rPr>
              <a:t>)</a:t>
            </a: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" name="TextBox 18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701925" y="2574925"/>
            <a:ext cx="7356475" cy="71913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500" b="1" dirty="0" smtClean="0">
                <a:cs typeface="Times New Roman" panose="02020603050405020304" pitchFamily="18" charset="0"/>
              </a:rPr>
              <a:t> </a:t>
            </a:r>
            <a:r>
              <a:rPr lang="en-US" sz="1500" b="1" dirty="0" smtClean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Έναρξη λειτουργίας 10 π.μ. </a:t>
            </a:r>
            <a:r>
              <a:rPr lang="el-GR" sz="1500" dirty="0">
                <a:cs typeface="Times New Roman" panose="02020603050405020304" pitchFamily="18" charset="0"/>
              </a:rPr>
              <a:t>και διεύρυνση ωραρίου κατά </a:t>
            </a:r>
            <a:r>
              <a:rPr lang="el-GR" sz="1500" dirty="0" smtClean="0">
                <a:cs typeface="Times New Roman" panose="02020603050405020304" pitchFamily="18" charset="0"/>
              </a:rPr>
              <a:t>περίπτωση.</a:t>
            </a: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8" name="TextBox 59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701925" y="3344863"/>
            <a:ext cx="7356475" cy="7207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endParaRPr lang="el-GR" sz="1500" dirty="0" smtClean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500" dirty="0" smtClean="0">
                <a:cs typeface="Times New Roman" panose="02020603050405020304" pitchFamily="18" charset="0"/>
              </a:rPr>
              <a:t> Τήρηση απόστασης </a:t>
            </a:r>
            <a:r>
              <a:rPr lang="el-GR" sz="1500" b="1" dirty="0" smtClean="0">
                <a:cs typeface="Times New Roman" panose="02020603050405020304" pitchFamily="18" charset="0"/>
              </a:rPr>
              <a:t>1,5 μέτρων </a:t>
            </a:r>
            <a:r>
              <a:rPr lang="el-GR" sz="1500" dirty="0" smtClean="0">
                <a:cs typeface="Times New Roman" panose="02020603050405020304" pitchFamily="18" charset="0"/>
              </a:rPr>
              <a:t>μεταξύ ατόμων</a:t>
            </a: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500" dirty="0" smtClean="0">
                <a:cs typeface="Times New Roman" panose="02020603050405020304" pitchFamily="18" charset="0"/>
              </a:rPr>
              <a:t>  Υγιεινή χεριών.</a:t>
            </a:r>
            <a:r>
              <a:rPr lang="el-GR" sz="1500" dirty="0" smtClean="0">
                <a:solidFill>
                  <a:srgbClr val="FF0000"/>
                </a:solidFill>
                <a:cs typeface="Times New Roman" panose="02020603050405020304" pitchFamily="18" charset="0"/>
              </a:rPr>
              <a:t> </a:t>
            </a:r>
            <a:endParaRPr lang="el-GR" sz="1500" dirty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9" name="TextBox 60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701925" y="4116388"/>
            <a:ext cx="7356475" cy="9525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r>
              <a:rPr lang="el-GR" sz="1500" dirty="0" smtClean="0">
                <a:cs typeface="Times New Roman" panose="02020603050405020304" pitchFamily="18" charset="0"/>
              </a:rPr>
              <a:t> </a:t>
            </a: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500" u="sng" dirty="0" smtClean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500" u="sng" dirty="0" smtClean="0">
                <a:cs typeface="Times New Roman" panose="02020603050405020304" pitchFamily="18" charset="0"/>
              </a:rPr>
              <a:t>Στον κοινόχρηστο χώρο </a:t>
            </a:r>
            <a:r>
              <a:rPr lang="el-GR" sz="1500" dirty="0" smtClean="0">
                <a:cs typeface="Times New Roman" panose="02020603050405020304" pitchFamily="18" charset="0"/>
                <a:sym typeface="Wingdings" pitchFamily="2" charset="2"/>
              </a:rPr>
              <a:t> </a:t>
            </a:r>
            <a:r>
              <a:rPr lang="el-GR" sz="1500" dirty="0" smtClean="0">
                <a:cs typeface="Times New Roman" panose="02020603050405020304" pitchFamily="18" charset="0"/>
              </a:rPr>
              <a:t> </a:t>
            </a:r>
            <a:r>
              <a:rPr lang="el-GR" sz="1500" b="1" dirty="0" smtClean="0">
                <a:cs typeface="Times New Roman" panose="02020603050405020304" pitchFamily="18" charset="0"/>
              </a:rPr>
              <a:t>Ισχυρή σύσταση για </a:t>
            </a:r>
            <a:r>
              <a:rPr lang="el-GR" sz="1500" b="1" dirty="0">
                <a:cs typeface="Times New Roman" panose="02020603050405020304" pitchFamily="18" charset="0"/>
              </a:rPr>
              <a:t>χρήση μάσκας προστασίας </a:t>
            </a:r>
            <a:r>
              <a:rPr lang="el-GR" sz="1500" dirty="0">
                <a:cs typeface="Times New Roman" panose="02020603050405020304" pitchFamily="18" charset="0"/>
              </a:rPr>
              <a:t>από το προσωπικό </a:t>
            </a:r>
            <a:r>
              <a:rPr lang="el-GR" sz="1500" dirty="0" smtClean="0">
                <a:cs typeface="Times New Roman" panose="02020603050405020304" pitchFamily="18" charset="0"/>
              </a:rPr>
              <a:t>εργασίας </a:t>
            </a:r>
            <a:r>
              <a:rPr lang="el-GR" sz="1500" dirty="0">
                <a:cs typeface="Times New Roman" panose="02020603050405020304" pitchFamily="18" charset="0"/>
              </a:rPr>
              <a:t>και τους πελάτες/επισκέπτες/καταναλωτικό </a:t>
            </a:r>
            <a:r>
              <a:rPr lang="el-GR" sz="1500" dirty="0" smtClean="0">
                <a:cs typeface="Times New Roman" panose="02020603050405020304" pitchFamily="18" charset="0"/>
              </a:rPr>
              <a:t>κοινό.</a:t>
            </a: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500" dirty="0" smtClean="0">
                <a:cs typeface="Times New Roman" panose="02020603050405020304" pitchFamily="18" charset="0"/>
              </a:rPr>
              <a:t> </a:t>
            </a:r>
            <a:r>
              <a:rPr lang="el-GR" sz="1500" u="sng" dirty="0" smtClean="0">
                <a:cs typeface="Times New Roman" panose="02020603050405020304" pitchFamily="18" charset="0"/>
              </a:rPr>
              <a:t>Εντός  των καταστημάτων </a:t>
            </a:r>
            <a:r>
              <a:rPr lang="el-GR" sz="1500" dirty="0" smtClean="0">
                <a:cs typeface="Times New Roman" panose="02020603050405020304" pitchFamily="18" charset="0"/>
                <a:sym typeface="Wingdings" pitchFamily="2" charset="2"/>
              </a:rPr>
              <a:t> </a:t>
            </a:r>
            <a:r>
              <a:rPr lang="el-GR" sz="1500" b="1" dirty="0" smtClean="0">
                <a:cs typeface="Times New Roman" panose="02020603050405020304" pitchFamily="18" charset="0"/>
                <a:sym typeface="Wingdings" pitchFamily="2" charset="2"/>
              </a:rPr>
              <a:t>Υποχρεωτική χρήση μάσκας προστασίας </a:t>
            </a:r>
            <a:r>
              <a:rPr lang="el-GR" sz="1500" dirty="0" smtClean="0">
                <a:cs typeface="Times New Roman" panose="02020603050405020304" pitchFamily="18" charset="0"/>
                <a:sym typeface="Wingdings" pitchFamily="2" charset="2"/>
              </a:rPr>
              <a:t>από το προσωπικό εργασίας και τους πελάτες.</a:t>
            </a:r>
            <a:endParaRPr lang="el-GR" sz="1500" dirty="0" smtClean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500" dirty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0" name="TextBox 63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709863" y="5146675"/>
            <a:ext cx="7346950" cy="5778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500" dirty="0" smtClean="0">
                <a:cs typeface="Times New Roman" panose="02020603050405020304" pitchFamily="18" charset="0"/>
              </a:rPr>
              <a:t>  Συνιστάται </a:t>
            </a:r>
            <a:r>
              <a:rPr lang="el-GR" sz="1500" dirty="0">
                <a:cs typeface="Times New Roman" panose="02020603050405020304" pitchFamily="18" charset="0"/>
              </a:rPr>
              <a:t>η μη χρήση </a:t>
            </a:r>
            <a:r>
              <a:rPr lang="el-GR" sz="1500" b="1" dirty="0">
                <a:cs typeface="Times New Roman" panose="02020603050405020304" pitchFamily="18" charset="0"/>
              </a:rPr>
              <a:t>ανελκυστήρων</a:t>
            </a:r>
            <a:r>
              <a:rPr lang="el-GR" sz="1500" dirty="0">
                <a:cs typeface="Times New Roman" panose="02020603050405020304" pitchFamily="18" charset="0"/>
              </a:rPr>
              <a:t>. Αν η χρήση τους θεωρηθεί αναγκαία, η πληρότητα σε σχέση με το επιτρεπόμενο όριο θα πρέπει να είναι 40%.</a:t>
            </a:r>
          </a:p>
        </p:txBody>
      </p:sp>
      <p:sp>
        <p:nvSpPr>
          <p:cNvPr id="11" name="TextBox 66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692400" y="2122488"/>
            <a:ext cx="7364413" cy="41433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600" b="1" dirty="0" smtClean="0">
                <a:solidFill>
                  <a:srgbClr val="002060"/>
                </a:solidFill>
                <a:cs typeface="+mn-cs"/>
              </a:rPr>
              <a:t>Ειδικές Ρυθμίσεις </a:t>
            </a:r>
            <a:endParaRPr lang="el-GR" sz="1600" b="1" dirty="0">
              <a:solidFill>
                <a:srgbClr val="002060"/>
              </a:solidFill>
              <a:cs typeface="+mn-cs"/>
            </a:endParaRPr>
          </a:p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2" name="TextBox 67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463675" y="2112963"/>
            <a:ext cx="1181100" cy="423862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5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      ΚΑΔ</a:t>
            </a:r>
            <a:endParaRPr lang="el-GR" sz="1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3" name="TextBox 16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2709863" y="5786438"/>
            <a:ext cx="7346950" cy="5905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r>
              <a:rPr lang="el-GR" sz="1500" dirty="0" smtClean="0">
                <a:cs typeface="Times New Roman" panose="02020603050405020304" pitchFamily="18" charset="0"/>
              </a:rPr>
              <a:t> Σε </a:t>
            </a:r>
            <a:r>
              <a:rPr lang="el-GR" sz="1500" dirty="0">
                <a:cs typeface="Times New Roman" panose="02020603050405020304" pitchFamily="18" charset="0"/>
              </a:rPr>
              <a:t>περίπτωση ύπαρξης κυλιόμενων κλιμάκων </a:t>
            </a:r>
            <a:r>
              <a:rPr lang="el-GR" sz="1500" b="1" dirty="0">
                <a:cs typeface="Times New Roman" panose="02020603050405020304" pitchFamily="18" charset="0"/>
              </a:rPr>
              <a:t>δεν επιτρέπεται η χρήση ανελκυστήρα παρά μόνο σε </a:t>
            </a:r>
            <a:r>
              <a:rPr lang="el-GR" sz="1500" b="1" dirty="0" err="1">
                <a:cs typeface="Times New Roman" panose="02020603050405020304" pitchFamily="18" charset="0"/>
              </a:rPr>
              <a:t>ΑΜεΑ</a:t>
            </a:r>
            <a:r>
              <a:rPr lang="el-GR" sz="1500" b="1" dirty="0">
                <a:cs typeface="Times New Roman" panose="02020603050405020304" pitchFamily="18" charset="0"/>
              </a:rPr>
              <a:t>, σε ηλικιωμένα άτομα ή για χρήση τροφοδοσίας</a:t>
            </a:r>
            <a:r>
              <a:rPr lang="el-GR" sz="1500" dirty="0">
                <a:cs typeface="Times New Roman" panose="02020603050405020304" pitchFamily="18" charset="0"/>
              </a:rPr>
              <a:t>. </a:t>
            </a:r>
            <a:endParaRPr lang="en-US" sz="1500" dirty="0" smtClean="0">
              <a:cs typeface="Times New Roman" panose="02020603050405020304" pitchFamily="18" charset="0"/>
            </a:endParaRPr>
          </a:p>
        </p:txBody>
      </p:sp>
      <p:sp>
        <p:nvSpPr>
          <p:cNvPr id="338955" name="3 - TextBox"/>
          <p:cNvSpPr txBox="1">
            <a:spLocks noChangeArrowheads="1"/>
          </p:cNvSpPr>
          <p:nvPr/>
        </p:nvSpPr>
        <p:spPr bwMode="auto">
          <a:xfrm>
            <a:off x="555625" y="1533525"/>
            <a:ext cx="107283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2000" b="1">
                <a:solidFill>
                  <a:srgbClr val="002060"/>
                </a:solidFill>
                <a:latin typeface="Calibri" pitchFamily="34" charset="0"/>
              </a:rPr>
              <a:t>Κανόνες λειτουργίας επιχειρήσεων λιανικού εμπορίου – Ειδικές Ρυθμίσεις</a:t>
            </a:r>
          </a:p>
        </p:txBody>
      </p:sp>
      <p:sp>
        <p:nvSpPr>
          <p:cNvPr id="338956" name="Freeform 106"/>
          <p:cNvSpPr>
            <a:spLocks noEditPoints="1"/>
          </p:cNvSpPr>
          <p:nvPr/>
        </p:nvSpPr>
        <p:spPr bwMode="auto">
          <a:xfrm>
            <a:off x="1824038" y="3017838"/>
            <a:ext cx="530225" cy="560387"/>
          </a:xfrm>
          <a:custGeom>
            <a:avLst/>
            <a:gdLst>
              <a:gd name="T0" fmla="*/ 408940 w 192"/>
              <a:gd name="T1" fmla="*/ 90474 h 192"/>
              <a:gd name="T2" fmla="*/ 408940 w 192"/>
              <a:gd name="T3" fmla="*/ 0 h 192"/>
              <a:gd name="T4" fmla="*/ 121577 w 192"/>
              <a:gd name="T5" fmla="*/ 0 h 192"/>
              <a:gd name="T6" fmla="*/ 121577 w 192"/>
              <a:gd name="T7" fmla="*/ 90474 h 192"/>
              <a:gd name="T8" fmla="*/ 0 w 192"/>
              <a:gd name="T9" fmla="*/ 90474 h 192"/>
              <a:gd name="T10" fmla="*/ 0 w 192"/>
              <a:gd name="T11" fmla="*/ 224726 h 192"/>
              <a:gd name="T12" fmla="*/ 0 w 192"/>
              <a:gd name="T13" fmla="*/ 560355 h 192"/>
              <a:gd name="T14" fmla="*/ 428282 w 192"/>
              <a:gd name="T15" fmla="*/ 560355 h 192"/>
              <a:gd name="T16" fmla="*/ 530517 w 192"/>
              <a:gd name="T17" fmla="*/ 560355 h 192"/>
              <a:gd name="T18" fmla="*/ 530517 w 192"/>
              <a:gd name="T19" fmla="*/ 90474 h 192"/>
              <a:gd name="T20" fmla="*/ 408940 w 192"/>
              <a:gd name="T21" fmla="*/ 90474 h 192"/>
              <a:gd name="T22" fmla="*/ 143682 w 192"/>
              <a:gd name="T23" fmla="*/ 23348 h 192"/>
              <a:gd name="T24" fmla="*/ 386835 w 192"/>
              <a:gd name="T25" fmla="*/ 23348 h 192"/>
              <a:gd name="T26" fmla="*/ 386835 w 192"/>
              <a:gd name="T27" fmla="*/ 90474 h 192"/>
              <a:gd name="T28" fmla="*/ 143682 w 192"/>
              <a:gd name="T29" fmla="*/ 90474 h 192"/>
              <a:gd name="T30" fmla="*/ 143682 w 192"/>
              <a:gd name="T31" fmla="*/ 23348 h 192"/>
              <a:gd name="T32" fmla="*/ 22105 w 192"/>
              <a:gd name="T33" fmla="*/ 537007 h 192"/>
              <a:gd name="T34" fmla="*/ 22105 w 192"/>
              <a:gd name="T35" fmla="*/ 291852 h 192"/>
              <a:gd name="T36" fmla="*/ 71841 w 192"/>
              <a:gd name="T37" fmla="*/ 291852 h 192"/>
              <a:gd name="T38" fmla="*/ 356441 w 192"/>
              <a:gd name="T39" fmla="*/ 291852 h 192"/>
              <a:gd name="T40" fmla="*/ 406177 w 192"/>
              <a:gd name="T41" fmla="*/ 291852 h 192"/>
              <a:gd name="T42" fmla="*/ 406177 w 192"/>
              <a:gd name="T43" fmla="*/ 537007 h 192"/>
              <a:gd name="T44" fmla="*/ 22105 w 192"/>
              <a:gd name="T45" fmla="*/ 537007 h 192"/>
              <a:gd name="T46" fmla="*/ 93946 w 192"/>
              <a:gd name="T47" fmla="*/ 268503 h 192"/>
              <a:gd name="T48" fmla="*/ 168550 w 192"/>
              <a:gd name="T49" fmla="*/ 201378 h 192"/>
              <a:gd name="T50" fmla="*/ 259732 w 192"/>
              <a:gd name="T51" fmla="*/ 201378 h 192"/>
              <a:gd name="T52" fmla="*/ 334336 w 192"/>
              <a:gd name="T53" fmla="*/ 268503 h 192"/>
              <a:gd name="T54" fmla="*/ 93946 w 192"/>
              <a:gd name="T55" fmla="*/ 268503 h 192"/>
              <a:gd name="T56" fmla="*/ 508412 w 192"/>
              <a:gd name="T57" fmla="*/ 537007 h 192"/>
              <a:gd name="T58" fmla="*/ 428282 w 192"/>
              <a:gd name="T59" fmla="*/ 537007 h 192"/>
              <a:gd name="T60" fmla="*/ 428282 w 192"/>
              <a:gd name="T61" fmla="*/ 268503 h 192"/>
              <a:gd name="T62" fmla="*/ 356441 w 192"/>
              <a:gd name="T63" fmla="*/ 268503 h 192"/>
              <a:gd name="T64" fmla="*/ 259732 w 192"/>
              <a:gd name="T65" fmla="*/ 178029 h 192"/>
              <a:gd name="T66" fmla="*/ 168550 w 192"/>
              <a:gd name="T67" fmla="*/ 178029 h 192"/>
              <a:gd name="T68" fmla="*/ 71841 w 192"/>
              <a:gd name="T69" fmla="*/ 268503 h 192"/>
              <a:gd name="T70" fmla="*/ 22105 w 192"/>
              <a:gd name="T71" fmla="*/ 268503 h 192"/>
              <a:gd name="T72" fmla="*/ 22105 w 192"/>
              <a:gd name="T73" fmla="*/ 116741 h 192"/>
              <a:gd name="T74" fmla="*/ 508412 w 192"/>
              <a:gd name="T75" fmla="*/ 116741 h 192"/>
              <a:gd name="T76" fmla="*/ 508412 w 192"/>
              <a:gd name="T77" fmla="*/ 537007 h 19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92"/>
              <a:gd name="T118" fmla="*/ 0 h 192"/>
              <a:gd name="T119" fmla="*/ 192 w 192"/>
              <a:gd name="T120" fmla="*/ 192 h 192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92" h="192">
                <a:moveTo>
                  <a:pt x="148" y="31"/>
                </a:moveTo>
                <a:cubicBezTo>
                  <a:pt x="148" y="0"/>
                  <a:pt x="148" y="0"/>
                  <a:pt x="1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1"/>
                  <a:pt x="44" y="31"/>
                  <a:pt x="44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92"/>
                  <a:pt x="0" y="192"/>
                  <a:pt x="0" y="192"/>
                </a:cubicBezTo>
                <a:cubicBezTo>
                  <a:pt x="155" y="192"/>
                  <a:pt x="155" y="192"/>
                  <a:pt x="155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31"/>
                  <a:pt x="192" y="31"/>
                  <a:pt x="192" y="31"/>
                </a:cubicBezTo>
                <a:lnTo>
                  <a:pt x="148" y="31"/>
                </a:lnTo>
                <a:close/>
                <a:moveTo>
                  <a:pt x="52" y="8"/>
                </a:moveTo>
                <a:cubicBezTo>
                  <a:pt x="140" y="8"/>
                  <a:pt x="140" y="8"/>
                  <a:pt x="140" y="8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52" y="31"/>
                  <a:pt x="52" y="31"/>
                  <a:pt x="52" y="31"/>
                </a:cubicBezTo>
                <a:lnTo>
                  <a:pt x="52" y="8"/>
                </a:lnTo>
                <a:close/>
                <a:moveTo>
                  <a:pt x="8" y="184"/>
                </a:moveTo>
                <a:cubicBezTo>
                  <a:pt x="8" y="100"/>
                  <a:pt x="8" y="100"/>
                  <a:pt x="8" y="100"/>
                </a:cubicBezTo>
                <a:cubicBezTo>
                  <a:pt x="26" y="100"/>
                  <a:pt x="26" y="100"/>
                  <a:pt x="2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47" y="100"/>
                  <a:pt x="147" y="100"/>
                  <a:pt x="147" y="100"/>
                </a:cubicBezTo>
                <a:cubicBezTo>
                  <a:pt x="147" y="184"/>
                  <a:pt x="147" y="184"/>
                  <a:pt x="147" y="184"/>
                </a:cubicBezTo>
                <a:lnTo>
                  <a:pt x="8" y="184"/>
                </a:lnTo>
                <a:close/>
                <a:moveTo>
                  <a:pt x="34" y="92"/>
                </a:moveTo>
                <a:cubicBezTo>
                  <a:pt x="36" y="79"/>
                  <a:pt x="47" y="69"/>
                  <a:pt x="61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108" y="69"/>
                  <a:pt x="119" y="79"/>
                  <a:pt x="121" y="92"/>
                </a:cubicBezTo>
                <a:lnTo>
                  <a:pt x="34" y="92"/>
                </a:lnTo>
                <a:close/>
                <a:moveTo>
                  <a:pt x="184" y="184"/>
                </a:moveTo>
                <a:cubicBezTo>
                  <a:pt x="155" y="184"/>
                  <a:pt x="155" y="184"/>
                  <a:pt x="155" y="184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7" y="75"/>
                  <a:pt x="112" y="61"/>
                  <a:pt x="94" y="61"/>
                </a:cubicBezTo>
                <a:cubicBezTo>
                  <a:pt x="61" y="61"/>
                  <a:pt x="61" y="61"/>
                  <a:pt x="61" y="61"/>
                </a:cubicBezTo>
                <a:cubicBezTo>
                  <a:pt x="43" y="61"/>
                  <a:pt x="28" y="75"/>
                  <a:pt x="26" y="92"/>
                </a:cubicBezTo>
                <a:cubicBezTo>
                  <a:pt x="8" y="92"/>
                  <a:pt x="8" y="92"/>
                  <a:pt x="8" y="92"/>
                </a:cubicBezTo>
                <a:cubicBezTo>
                  <a:pt x="8" y="40"/>
                  <a:pt x="8" y="40"/>
                  <a:pt x="8" y="40"/>
                </a:cubicBezTo>
                <a:cubicBezTo>
                  <a:pt x="184" y="40"/>
                  <a:pt x="184" y="40"/>
                  <a:pt x="184" y="40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114300" tIns="57150" rIns="114300" bIns="57150"/>
          <a:lstStyle/>
          <a:p>
            <a:endParaRPr lang="el-G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969" name="3 - Θέση αριθμού διαφάνειας"/>
          <p:cNvSpPr>
            <a:spLocks noGrp="1"/>
          </p:cNvSpPr>
          <p:nvPr>
            <p:ph type="sldNum" sz="quarter" idx="10"/>
          </p:nvPr>
        </p:nvSpPr>
        <p:spPr bwMode="auto">
          <a:noFill/>
          <a:ln>
            <a:miter lim="800000"/>
            <a:headEnd/>
            <a:tailEnd/>
          </a:ln>
        </p:spPr>
        <p:txBody>
          <a:bodyPr numCol="1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buSzPts val="900"/>
            </a:pPr>
            <a:fld id="{E5038D96-4DEA-4F45-BD36-C09C1AD4C1BC}" type="slidenum">
              <a:rPr lang="en-US"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ts val="900"/>
              </a:pPr>
              <a:t>9</a:t>
            </a:fld>
            <a:endParaRPr lang="en-US">
              <a:solidFill>
                <a:srgbClr val="000000"/>
              </a:solidFill>
              <a:latin typeface="Arial" charset="0"/>
              <a:cs typeface="Arial" charset="0"/>
              <a:sym typeface="Arial" charset="0"/>
            </a:endParaRPr>
          </a:p>
        </p:txBody>
      </p:sp>
      <p:sp>
        <p:nvSpPr>
          <p:cNvPr id="5" name="TextBox 17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465138" y="2446338"/>
            <a:ext cx="1106487" cy="388143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96.04.10.02</a:t>
            </a:r>
          </a:p>
          <a:p>
            <a:pPr marL="0" indent="0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96.04.10.06</a:t>
            </a:r>
            <a:endParaRPr lang="en-US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endParaRPr lang="el-GR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endParaRPr lang="el-GR" sz="13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6" name="TextBox 18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628775" y="4549775"/>
            <a:ext cx="6686550" cy="431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300" dirty="0">
                <a:cs typeface="Times New Roman" panose="02020603050405020304" pitchFamily="18" charset="0"/>
              </a:rPr>
              <a:t>Έως 20 τ.μ. </a:t>
            </a:r>
          </a:p>
        </p:txBody>
      </p:sp>
      <p:sp>
        <p:nvSpPr>
          <p:cNvPr id="7" name="TextBox 19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8355013" y="4546600"/>
            <a:ext cx="3222625" cy="431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72000" tIns="0" rIns="0" bIns="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300" dirty="0">
                <a:cs typeface="Times New Roman" panose="02020603050405020304" pitchFamily="18" charset="0"/>
              </a:rPr>
              <a:t>4 άτομα</a:t>
            </a:r>
          </a:p>
        </p:txBody>
      </p:sp>
      <p:sp>
        <p:nvSpPr>
          <p:cNvPr id="8" name="TextBox 59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628775" y="5011738"/>
            <a:ext cx="6686550" cy="431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300" dirty="0">
                <a:cs typeface="Times New Roman" panose="02020603050405020304" pitchFamily="18" charset="0"/>
              </a:rPr>
              <a:t>Από 20τ.μ. έως 100 τ.μ.</a:t>
            </a:r>
          </a:p>
        </p:txBody>
      </p:sp>
      <p:sp>
        <p:nvSpPr>
          <p:cNvPr id="9" name="TextBox 60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628775" y="5473700"/>
            <a:ext cx="6686550" cy="431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300" dirty="0">
                <a:cs typeface="Times New Roman" panose="02020603050405020304" pitchFamily="18" charset="0"/>
              </a:rPr>
              <a:t>Άνω των 100 τ.μ.</a:t>
            </a:r>
          </a:p>
        </p:txBody>
      </p:sp>
      <p:sp>
        <p:nvSpPr>
          <p:cNvPr id="10" name="TextBox 61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8355013" y="5005388"/>
            <a:ext cx="3222625" cy="431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72000" tIns="0" rIns="0" bIns="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300" dirty="0">
                <a:cs typeface="Times New Roman" panose="02020603050405020304" pitchFamily="18" charset="0"/>
              </a:rPr>
              <a:t>4 άτομα +1 άτομο ανά 10 τ.μ. για την επιφάνεια από 20 έως 100 </a:t>
            </a:r>
            <a:r>
              <a:rPr lang="el-GR" sz="1300" dirty="0" err="1">
                <a:cs typeface="Times New Roman" panose="02020603050405020304" pitchFamily="18" charset="0"/>
              </a:rPr>
              <a:t>τμ</a:t>
            </a: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1" name="TextBox 62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8355013" y="5462588"/>
            <a:ext cx="3222625" cy="4318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72000" tIns="0" rIns="0" bIns="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300" dirty="0">
                <a:cs typeface="Times New Roman" panose="02020603050405020304" pitchFamily="18" charset="0"/>
              </a:rPr>
              <a:t>12 άτομα + 1 άτομο ανά 15 τ.μ. για την επιφάνεια άνω των 100 </a:t>
            </a:r>
            <a:r>
              <a:rPr lang="el-GR" sz="1300" dirty="0" err="1">
                <a:cs typeface="Times New Roman" panose="02020603050405020304" pitchFamily="18" charset="0"/>
              </a:rPr>
              <a:t>τμ</a:t>
            </a: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2" name="TextBox 63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628775" y="5927725"/>
            <a:ext cx="9948863" cy="4000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300" b="1" dirty="0">
                <a:cs typeface="Times New Roman" panose="02020603050405020304" pitchFamily="18" charset="0"/>
              </a:rPr>
              <a:t>Άνω των 300 τ.μ. που αναπτύσσονται σε επίπεδα ισχύει το κριτήριο επιπέδων, ήτοι 1 άτομο ανά 10 τ.μ. ανά όροφο.</a:t>
            </a:r>
          </a:p>
        </p:txBody>
      </p:sp>
      <p:sp>
        <p:nvSpPr>
          <p:cNvPr id="13" name="TextBox 66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636713" y="4087813"/>
            <a:ext cx="6686550" cy="4318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300" b="1" dirty="0">
                <a:cs typeface="Times New Roman" panose="02020603050405020304" pitchFamily="18" charset="0"/>
              </a:rPr>
              <a:t>Τετραγωνικά μέτρα εμβαδού κυρίως χώρου </a:t>
            </a:r>
          </a:p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300" dirty="0">
                <a:cs typeface="Times New Roman" panose="02020603050405020304" pitchFamily="18" charset="0"/>
              </a:rPr>
              <a:t>(πλην βοηθητικών πχ γραφεία, αποθήκη)</a:t>
            </a:r>
          </a:p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4" name="TextBox 67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465138" y="1987550"/>
            <a:ext cx="1106487" cy="42545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300" b="1" dirty="0">
                <a:solidFill>
                  <a:schemeClr val="bg1"/>
                </a:solidFill>
                <a:cs typeface="Times New Roman" panose="02020603050405020304" pitchFamily="18" charset="0"/>
              </a:rPr>
              <a:t>ΚΑΔ</a:t>
            </a:r>
          </a:p>
        </p:txBody>
      </p:sp>
      <p:sp>
        <p:nvSpPr>
          <p:cNvPr id="15" name="TextBox 68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8355013" y="4087813"/>
            <a:ext cx="3222625" cy="43338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l-GR" sz="1300" b="1" dirty="0">
                <a:cs typeface="Times New Roman" panose="02020603050405020304" pitchFamily="18" charset="0"/>
              </a:rPr>
              <a:t>Πληθυσμός ατόμων </a:t>
            </a:r>
            <a:br>
              <a:rPr lang="el-GR" sz="1300" b="1" dirty="0">
                <a:cs typeface="Times New Roman" panose="02020603050405020304" pitchFamily="18" charset="0"/>
              </a:rPr>
            </a:br>
            <a:r>
              <a:rPr lang="el-GR" sz="1300" dirty="0">
                <a:cs typeface="Times New Roman" panose="02020603050405020304" pitchFamily="18" charset="0"/>
              </a:rPr>
              <a:t>(μικτός εργαζόμενοι και πελάτες) </a:t>
            </a:r>
          </a:p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6" name="TextBox 20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628775" y="2446338"/>
            <a:ext cx="9956800" cy="158591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300" dirty="0">
                <a:cs typeface="Times New Roman" panose="02020603050405020304" pitchFamily="18" charset="0"/>
              </a:rPr>
              <a:t>Απόσταση μεταξύ θέσεων εργασίας: 2 </a:t>
            </a:r>
            <a:r>
              <a:rPr lang="el-GR" sz="1300" dirty="0" smtClean="0">
                <a:cs typeface="Times New Roman" panose="02020603050405020304" pitchFamily="18" charset="0"/>
              </a:rPr>
              <a:t>μέτρα.</a:t>
            </a:r>
            <a:endParaRPr lang="el-GR" sz="1300" dirty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300" dirty="0">
                <a:cs typeface="Times New Roman" panose="02020603050405020304" pitchFamily="18" charset="0"/>
              </a:rPr>
              <a:t>Οι πελάτες θα προσέρχονται μόνο κατόπιν ραντεβού μέσω τηλεφώνου και ηλεκτρονικών </a:t>
            </a:r>
            <a:r>
              <a:rPr lang="el-GR" sz="1300" dirty="0" smtClean="0">
                <a:cs typeface="Times New Roman" panose="02020603050405020304" pitchFamily="18" charset="0"/>
              </a:rPr>
              <a:t>μέσων.</a:t>
            </a:r>
            <a:endParaRPr lang="en-US" sz="1300" dirty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300" dirty="0">
                <a:cs typeface="Times New Roman" panose="02020603050405020304" pitchFamily="18" charset="0"/>
              </a:rPr>
              <a:t>Οι επιχειρήσεις οφείλουν κατά την ημερήσια έναρξη λειτουργίας τους να συμπληρώνουν κατάλογο με τα ραντεβού των πελατών, ο οποίος θα επιδεικνύεται στα ελεγκτικά </a:t>
            </a:r>
            <a:r>
              <a:rPr lang="el-GR" sz="1300" dirty="0" smtClean="0">
                <a:cs typeface="Times New Roman" panose="02020603050405020304" pitchFamily="18" charset="0"/>
              </a:rPr>
              <a:t>όργανα.</a:t>
            </a:r>
            <a:endParaRPr lang="el-GR" sz="1300" dirty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300" dirty="0">
                <a:cs typeface="Times New Roman" panose="02020603050405020304" pitchFamily="18" charset="0"/>
              </a:rPr>
              <a:t>Υποχρεωτική χρήση μάσκας προστασίας για το </a:t>
            </a:r>
            <a:r>
              <a:rPr lang="el-GR" sz="1300" dirty="0" smtClean="0">
                <a:cs typeface="Times New Roman" panose="02020603050405020304" pitchFamily="18" charset="0"/>
              </a:rPr>
              <a:t>προσωπικό</a:t>
            </a:r>
            <a:r>
              <a:rPr lang="en-US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300" dirty="0">
                <a:cs typeface="Times New Roman" panose="02020603050405020304" pitchFamily="18" charset="0"/>
              </a:rPr>
              <a:t> </a:t>
            </a:r>
            <a:r>
              <a:rPr lang="el-GR" sz="1300" dirty="0" smtClean="0">
                <a:cs typeface="Times New Roman" panose="02020603050405020304" pitchFamily="18" charset="0"/>
              </a:rPr>
              <a:t>Γάντια μίας χρήσης για τους εργαζόμενους</a:t>
            </a:r>
            <a:r>
              <a:rPr lang="en-US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  <a:p>
            <a:pPr eaLnBrk="0" hangingPunct="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l-GR" sz="1300" dirty="0">
                <a:cs typeface="Times New Roman" panose="02020603050405020304" pitchFamily="18" charset="0"/>
              </a:rPr>
              <a:t> Ωράριο λειτουργίας καθημερινών </a:t>
            </a:r>
            <a:r>
              <a:rPr lang="el-GR" sz="1300" dirty="0" smtClean="0">
                <a:cs typeface="Times New Roman" panose="02020603050405020304" pitchFamily="18" charset="0"/>
              </a:rPr>
              <a:t>(προαιρετικό</a:t>
            </a:r>
            <a:r>
              <a:rPr lang="el-GR" sz="1300" dirty="0">
                <a:cs typeface="Times New Roman" panose="02020603050405020304" pitchFamily="18" charset="0"/>
              </a:rPr>
              <a:t>) από 7 π.μ. έως 10 μ.μ., Σάββατο: 7 π.μ. έως 9 </a:t>
            </a:r>
            <a:r>
              <a:rPr lang="el-GR" sz="1300" dirty="0" smtClean="0">
                <a:cs typeface="Times New Roman" panose="02020603050405020304" pitchFamily="18" charset="0"/>
              </a:rPr>
              <a:t>μ.μ.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hangingPunc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7" name="TextBox 21">
            <a:extLst>
              <a:ext uri="{FF2B5EF4-FFF2-40B4-BE49-F238E27FC236}"/>
            </a:extLst>
          </p:cNvPr>
          <p:cNvSpPr txBox="1"/>
          <p:nvPr/>
        </p:nvSpPr>
        <p:spPr bwMode="auto">
          <a:xfrm>
            <a:off x="1638300" y="1974850"/>
            <a:ext cx="9939338" cy="42545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hangingPunc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l-GR" sz="1300" b="1" dirty="0">
                <a:cs typeface="Times New Roman" panose="02020603050405020304" pitchFamily="18" charset="0"/>
              </a:rPr>
              <a:t>Ειδικοί όροι λειτουργίας</a:t>
            </a:r>
          </a:p>
        </p:txBody>
      </p:sp>
      <p:sp>
        <p:nvSpPr>
          <p:cNvPr id="18" name="Rectangle: Diagonal Corners Snipped 10">
            <a:extLst>
              <a:ext uri="{FF2B5EF4-FFF2-40B4-BE49-F238E27FC236}"/>
            </a:extLst>
          </p:cNvPr>
          <p:cNvSpPr/>
          <p:nvPr/>
        </p:nvSpPr>
        <p:spPr>
          <a:xfrm>
            <a:off x="425450" y="390525"/>
            <a:ext cx="10987088" cy="874713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lIns="111176" tIns="15860" rIns="111176" bIns="15860" anchor="ctr"/>
          <a:lstStyle/>
          <a:p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3</a:t>
            </a:r>
            <a:r>
              <a:rPr lang="en-GB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o </a:t>
            </a:r>
            <a:r>
              <a:rPr lang="el-GR" sz="2400">
                <a:solidFill>
                  <a:srgbClr val="FFFFFF"/>
                </a:solidFill>
                <a:latin typeface="Calibri" pitchFamily="34" charset="0"/>
                <a:sym typeface="Georgia" pitchFamily="18" charset="0"/>
              </a:rPr>
              <a:t>Στάδιο – 18 Μαΐου</a:t>
            </a:r>
          </a:p>
        </p:txBody>
      </p:sp>
      <p:sp>
        <p:nvSpPr>
          <p:cNvPr id="339984" name="3 - TextBox"/>
          <p:cNvSpPr txBox="1">
            <a:spLocks noChangeArrowheads="1"/>
          </p:cNvSpPr>
          <p:nvPr/>
        </p:nvSpPr>
        <p:spPr bwMode="auto">
          <a:xfrm>
            <a:off x="555625" y="1296988"/>
            <a:ext cx="107283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l-GR" sz="2000" b="1">
                <a:solidFill>
                  <a:srgbClr val="002060"/>
                </a:solidFill>
                <a:latin typeface="Calibri" pitchFamily="34" charset="0"/>
              </a:rPr>
              <a:t>Κανόνες λειτουργίας επιχειρήσεων λιανικού εμπορίου και παροχής υπηρεσιών  – Μέγιστος επιτρεπόμενος πληθυσμός ατόμων &amp; Ειδικές Ρυθμίσεις</a:t>
            </a:r>
          </a:p>
        </p:txBody>
      </p:sp>
      <p:sp>
        <p:nvSpPr>
          <p:cNvPr id="339985" name="Freeform 106"/>
          <p:cNvSpPr>
            <a:spLocks noEditPoints="1"/>
          </p:cNvSpPr>
          <p:nvPr/>
        </p:nvSpPr>
        <p:spPr bwMode="auto">
          <a:xfrm>
            <a:off x="752475" y="2997200"/>
            <a:ext cx="530225" cy="560388"/>
          </a:xfrm>
          <a:custGeom>
            <a:avLst/>
            <a:gdLst>
              <a:gd name="T0" fmla="*/ 408940 w 192"/>
              <a:gd name="T1" fmla="*/ 90474 h 192"/>
              <a:gd name="T2" fmla="*/ 408940 w 192"/>
              <a:gd name="T3" fmla="*/ 0 h 192"/>
              <a:gd name="T4" fmla="*/ 121577 w 192"/>
              <a:gd name="T5" fmla="*/ 0 h 192"/>
              <a:gd name="T6" fmla="*/ 121577 w 192"/>
              <a:gd name="T7" fmla="*/ 90474 h 192"/>
              <a:gd name="T8" fmla="*/ 0 w 192"/>
              <a:gd name="T9" fmla="*/ 90474 h 192"/>
              <a:gd name="T10" fmla="*/ 0 w 192"/>
              <a:gd name="T11" fmla="*/ 224726 h 192"/>
              <a:gd name="T12" fmla="*/ 0 w 192"/>
              <a:gd name="T13" fmla="*/ 560355 h 192"/>
              <a:gd name="T14" fmla="*/ 428282 w 192"/>
              <a:gd name="T15" fmla="*/ 560355 h 192"/>
              <a:gd name="T16" fmla="*/ 530517 w 192"/>
              <a:gd name="T17" fmla="*/ 560355 h 192"/>
              <a:gd name="T18" fmla="*/ 530517 w 192"/>
              <a:gd name="T19" fmla="*/ 90474 h 192"/>
              <a:gd name="T20" fmla="*/ 408940 w 192"/>
              <a:gd name="T21" fmla="*/ 90474 h 192"/>
              <a:gd name="T22" fmla="*/ 143682 w 192"/>
              <a:gd name="T23" fmla="*/ 23348 h 192"/>
              <a:gd name="T24" fmla="*/ 386835 w 192"/>
              <a:gd name="T25" fmla="*/ 23348 h 192"/>
              <a:gd name="T26" fmla="*/ 386835 w 192"/>
              <a:gd name="T27" fmla="*/ 90474 h 192"/>
              <a:gd name="T28" fmla="*/ 143682 w 192"/>
              <a:gd name="T29" fmla="*/ 90474 h 192"/>
              <a:gd name="T30" fmla="*/ 143682 w 192"/>
              <a:gd name="T31" fmla="*/ 23348 h 192"/>
              <a:gd name="T32" fmla="*/ 22105 w 192"/>
              <a:gd name="T33" fmla="*/ 537007 h 192"/>
              <a:gd name="T34" fmla="*/ 22105 w 192"/>
              <a:gd name="T35" fmla="*/ 291852 h 192"/>
              <a:gd name="T36" fmla="*/ 71841 w 192"/>
              <a:gd name="T37" fmla="*/ 291852 h 192"/>
              <a:gd name="T38" fmla="*/ 356441 w 192"/>
              <a:gd name="T39" fmla="*/ 291852 h 192"/>
              <a:gd name="T40" fmla="*/ 406177 w 192"/>
              <a:gd name="T41" fmla="*/ 291852 h 192"/>
              <a:gd name="T42" fmla="*/ 406177 w 192"/>
              <a:gd name="T43" fmla="*/ 537007 h 192"/>
              <a:gd name="T44" fmla="*/ 22105 w 192"/>
              <a:gd name="T45" fmla="*/ 537007 h 192"/>
              <a:gd name="T46" fmla="*/ 93946 w 192"/>
              <a:gd name="T47" fmla="*/ 268503 h 192"/>
              <a:gd name="T48" fmla="*/ 168550 w 192"/>
              <a:gd name="T49" fmla="*/ 201378 h 192"/>
              <a:gd name="T50" fmla="*/ 259732 w 192"/>
              <a:gd name="T51" fmla="*/ 201378 h 192"/>
              <a:gd name="T52" fmla="*/ 334336 w 192"/>
              <a:gd name="T53" fmla="*/ 268503 h 192"/>
              <a:gd name="T54" fmla="*/ 93946 w 192"/>
              <a:gd name="T55" fmla="*/ 268503 h 192"/>
              <a:gd name="T56" fmla="*/ 508412 w 192"/>
              <a:gd name="T57" fmla="*/ 537007 h 192"/>
              <a:gd name="T58" fmla="*/ 428282 w 192"/>
              <a:gd name="T59" fmla="*/ 537007 h 192"/>
              <a:gd name="T60" fmla="*/ 428282 w 192"/>
              <a:gd name="T61" fmla="*/ 268503 h 192"/>
              <a:gd name="T62" fmla="*/ 356441 w 192"/>
              <a:gd name="T63" fmla="*/ 268503 h 192"/>
              <a:gd name="T64" fmla="*/ 259732 w 192"/>
              <a:gd name="T65" fmla="*/ 178029 h 192"/>
              <a:gd name="T66" fmla="*/ 168550 w 192"/>
              <a:gd name="T67" fmla="*/ 178029 h 192"/>
              <a:gd name="T68" fmla="*/ 71841 w 192"/>
              <a:gd name="T69" fmla="*/ 268503 h 192"/>
              <a:gd name="T70" fmla="*/ 22105 w 192"/>
              <a:gd name="T71" fmla="*/ 268503 h 192"/>
              <a:gd name="T72" fmla="*/ 22105 w 192"/>
              <a:gd name="T73" fmla="*/ 116741 h 192"/>
              <a:gd name="T74" fmla="*/ 508412 w 192"/>
              <a:gd name="T75" fmla="*/ 116741 h 192"/>
              <a:gd name="T76" fmla="*/ 508412 w 192"/>
              <a:gd name="T77" fmla="*/ 537007 h 19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92"/>
              <a:gd name="T118" fmla="*/ 0 h 192"/>
              <a:gd name="T119" fmla="*/ 192 w 192"/>
              <a:gd name="T120" fmla="*/ 192 h 192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92" h="192">
                <a:moveTo>
                  <a:pt x="148" y="31"/>
                </a:moveTo>
                <a:cubicBezTo>
                  <a:pt x="148" y="0"/>
                  <a:pt x="148" y="0"/>
                  <a:pt x="1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1"/>
                  <a:pt x="44" y="31"/>
                  <a:pt x="44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92"/>
                  <a:pt x="0" y="192"/>
                  <a:pt x="0" y="192"/>
                </a:cubicBezTo>
                <a:cubicBezTo>
                  <a:pt x="155" y="192"/>
                  <a:pt x="155" y="192"/>
                  <a:pt x="155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31"/>
                  <a:pt x="192" y="31"/>
                  <a:pt x="192" y="31"/>
                </a:cubicBezTo>
                <a:lnTo>
                  <a:pt x="148" y="31"/>
                </a:lnTo>
                <a:close/>
                <a:moveTo>
                  <a:pt x="52" y="8"/>
                </a:moveTo>
                <a:cubicBezTo>
                  <a:pt x="140" y="8"/>
                  <a:pt x="140" y="8"/>
                  <a:pt x="140" y="8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52" y="31"/>
                  <a:pt x="52" y="31"/>
                  <a:pt x="52" y="31"/>
                </a:cubicBezTo>
                <a:lnTo>
                  <a:pt x="52" y="8"/>
                </a:lnTo>
                <a:close/>
                <a:moveTo>
                  <a:pt x="8" y="184"/>
                </a:moveTo>
                <a:cubicBezTo>
                  <a:pt x="8" y="100"/>
                  <a:pt x="8" y="100"/>
                  <a:pt x="8" y="100"/>
                </a:cubicBezTo>
                <a:cubicBezTo>
                  <a:pt x="26" y="100"/>
                  <a:pt x="26" y="100"/>
                  <a:pt x="2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47" y="100"/>
                  <a:pt x="147" y="100"/>
                  <a:pt x="147" y="100"/>
                </a:cubicBezTo>
                <a:cubicBezTo>
                  <a:pt x="147" y="184"/>
                  <a:pt x="147" y="184"/>
                  <a:pt x="147" y="184"/>
                </a:cubicBezTo>
                <a:lnTo>
                  <a:pt x="8" y="184"/>
                </a:lnTo>
                <a:close/>
                <a:moveTo>
                  <a:pt x="34" y="92"/>
                </a:moveTo>
                <a:cubicBezTo>
                  <a:pt x="36" y="79"/>
                  <a:pt x="47" y="69"/>
                  <a:pt x="61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108" y="69"/>
                  <a:pt x="119" y="79"/>
                  <a:pt x="121" y="92"/>
                </a:cubicBezTo>
                <a:lnTo>
                  <a:pt x="34" y="92"/>
                </a:lnTo>
                <a:close/>
                <a:moveTo>
                  <a:pt x="184" y="184"/>
                </a:moveTo>
                <a:cubicBezTo>
                  <a:pt x="155" y="184"/>
                  <a:pt x="155" y="184"/>
                  <a:pt x="155" y="184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7" y="75"/>
                  <a:pt x="112" y="61"/>
                  <a:pt x="94" y="61"/>
                </a:cubicBezTo>
                <a:cubicBezTo>
                  <a:pt x="61" y="61"/>
                  <a:pt x="61" y="61"/>
                  <a:pt x="61" y="61"/>
                </a:cubicBezTo>
                <a:cubicBezTo>
                  <a:pt x="43" y="61"/>
                  <a:pt x="28" y="75"/>
                  <a:pt x="26" y="92"/>
                </a:cubicBezTo>
                <a:cubicBezTo>
                  <a:pt x="8" y="92"/>
                  <a:pt x="8" y="92"/>
                  <a:pt x="8" y="92"/>
                </a:cubicBezTo>
                <a:cubicBezTo>
                  <a:pt x="8" y="40"/>
                  <a:pt x="8" y="40"/>
                  <a:pt x="8" y="40"/>
                </a:cubicBezTo>
                <a:cubicBezTo>
                  <a:pt x="184" y="40"/>
                  <a:pt x="184" y="40"/>
                  <a:pt x="184" y="40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lIns="114300" tIns="57150" rIns="114300" bIns="57150"/>
          <a:lstStyle/>
          <a:p>
            <a:endParaRPr lang="el-GR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1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/%y&lt;/m_strFormatTime&gt;&lt;m_yearfmt&gt;&lt;begin val=&quot;4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4.09510000000000040643E+00&quot;&gt;&lt;m_msothmcolidx val=&quot;0&quot;/&gt;&lt;m_rgb r=&quot;41&quot; g=&quot;7B&quot; b=&quot;85&quot;/&gt;&lt;m_nBrightness endver=&quot;26206&quot; val=&quot;0&quot;/&gt;&lt;/elem&gt;&lt;elem m_fUsage=&quot;3.36303417167100038299E+00&quot;&gt;&lt;m_msothmcolidx val=&quot;0&quot;/&gt;&lt;m_rgb r=&quot;9C&quot; g=&quot;C7&quot; b=&quot;CE&quot;/&gt;&lt;m_nBrightness endver=&quot;26206&quot; val=&quot;0&quot;/&gt;&lt;/elem&gt;&lt;elem m_fUsage=&quot;1.32609928242330776804E+00&quot;&gt;&lt;m_msothmcolidx val=&quot;0&quot;/&gt;&lt;m_rgb r=&quot;34&quot; g=&quot;62&quot; b=&quot;AB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LASTSLIDEVIEWED" val="270,8,Slide1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_5ikE5oeZkZtjdZwzp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hMuzXCrqwOMESfUKGN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EmlU0Gob4GaNcPYie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4Z2WcMv9AslLIMb6NDu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8.yVM5vbaR89LfEUMzL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w9V.vPHmCmQ0w_aCb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1qyswX6bVX5g.222Iva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2pGIE_YopIsCaG3Qki5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SdWmMP31KW7FtFmrHBD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9VNlUPLdn_wTtBb6Ys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heme/theme1.xml><?xml version="1.0" encoding="utf-8"?>
<a:theme xmlns:a="http://schemas.openxmlformats.org/drawingml/2006/main" name="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646</Words>
  <Application>Microsoft Office PowerPoint</Application>
  <PresentationFormat>Custom</PresentationFormat>
  <Paragraphs>342</Paragraphs>
  <Slides>22</Slides>
  <Notes>3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9</vt:i4>
      </vt:variant>
      <vt:variant>
        <vt:lpstr>Πρότυπο σχεδίασης</vt:lpstr>
      </vt:variant>
      <vt:variant>
        <vt:i4>14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22</vt:i4>
      </vt:variant>
    </vt:vector>
  </HeadingPairs>
  <TitlesOfParts>
    <vt:vector size="46" baseType="lpstr">
      <vt:lpstr>Calibri</vt:lpstr>
      <vt:lpstr>Arial</vt:lpstr>
      <vt:lpstr>Helvetica Neue</vt:lpstr>
      <vt:lpstr>Georgia</vt:lpstr>
      <vt:lpstr>Geneva</vt:lpstr>
      <vt:lpstr>Times New Roman</vt:lpstr>
      <vt:lpstr>Century Gothic</vt:lpstr>
      <vt:lpstr>Wingdings</vt:lpstr>
      <vt:lpstr>Arabic Typesetting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think-cell Slide</vt:lpstr>
      <vt:lpstr>   </vt:lpstr>
      <vt:lpstr>Διαφάνεια 2</vt:lpstr>
      <vt:lpstr>Διαφάνεια 3</vt:lpstr>
      <vt:lpstr>Διαφάνεια 4</vt:lpstr>
      <vt:lpstr>Διαφάνεια 5</vt:lpstr>
      <vt:lpstr>Διαφάνεια 6</vt:lpstr>
      <vt:lpstr>Διαφάνεια 7</vt:lpstr>
      <vt:lpstr>Διαφάνεια 8</vt:lpstr>
      <vt:lpstr>Διαφάνεια 9</vt:lpstr>
      <vt:lpstr>Διαφάνεια 10</vt:lpstr>
      <vt:lpstr>Διαφάνεια 11</vt:lpstr>
      <vt:lpstr>Διαφάνεια 12</vt:lpstr>
      <vt:lpstr>Διαφάνεια 13</vt:lpstr>
      <vt:lpstr>Διαφάνεια 14</vt:lpstr>
      <vt:lpstr>Διαφάνεια 15</vt:lpstr>
      <vt:lpstr>Διαφάνεια 16</vt:lpstr>
      <vt:lpstr>Διαφάνεια 17</vt:lpstr>
      <vt:lpstr>Διαφάνεια 18</vt:lpstr>
      <vt:lpstr>Διαφάνεια 19</vt:lpstr>
      <vt:lpstr>Διαφάνεια 20</vt:lpstr>
      <vt:lpstr>Διαφάνεια 21</vt:lpstr>
      <vt:lpstr>Διαφάνεια 2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   </dc:title>
  <dc:creator/>
  <cp:lastModifiedBy/>
  <cp:revision>1</cp:revision>
  <cp:lastPrinted>2020-04-28T16:03:45Z</cp:lastPrinted>
  <dcterms:created xsi:type="dcterms:W3CDTF">2019-07-09T09:31:45Z</dcterms:created>
  <dcterms:modified xsi:type="dcterms:W3CDTF">2020-05-17T15:09:58Z</dcterms:modified>
</cp:coreProperties>
</file>